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2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3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4.xml" ContentType="application/vnd.openxmlformats-officedocument.theme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theme/theme5.xml" ContentType="application/vnd.openxmlformats-officedocument.theme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theme/theme6.xml" ContentType="application/vnd.openxmlformats-officedocument.theme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theme/theme7.xml" ContentType="application/vnd.openxmlformats-officedocument.theme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theme/theme8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67" r:id="rId4"/>
    <p:sldMasterId id="2147484760" r:id="rId5"/>
    <p:sldMasterId id="2147484796" r:id="rId6"/>
    <p:sldMasterId id="2147484832" r:id="rId7"/>
    <p:sldMasterId id="2147484868" r:id="rId8"/>
    <p:sldMasterId id="2147484904" r:id="rId9"/>
    <p:sldMasterId id="2147484940" r:id="rId10"/>
    <p:sldMasterId id="2147484976" r:id="rId11"/>
  </p:sldMasterIdLst>
  <p:notesMasterIdLst>
    <p:notesMasterId r:id="rId13"/>
  </p:notesMasterIdLst>
  <p:handoutMasterIdLst>
    <p:handoutMasterId r:id="rId14"/>
  </p:handoutMasterIdLst>
  <p:sldIdLst>
    <p:sldId id="261" r:id="rId12"/>
  </p:sldIdLst>
  <p:sldSz cx="9215438" cy="5184775"/>
  <p:notesSz cx="6805613" cy="9939338"/>
  <p:custDataLst>
    <p:tags r:id="rId15"/>
  </p:custDataLst>
  <p:defaultTextStyle>
    <a:defPPr>
      <a:defRPr lang="en-US"/>
    </a:defPPr>
    <a:lvl1pPr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1pPr>
    <a:lvl2pPr marL="459121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2pPr>
    <a:lvl3pPr marL="919842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3pPr>
    <a:lvl4pPr marL="1380562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4pPr>
    <a:lvl5pPr marL="1841283" indent="1600" algn="l" defTabSz="91984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5pPr>
    <a:lvl6pPr marL="2303602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6pPr>
    <a:lvl7pPr marL="2764323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7pPr>
    <a:lvl8pPr marL="3225043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8pPr>
    <a:lvl9pPr marL="3685764" algn="l" defTabSz="921441" rtl="0" eaLnBrk="1" latinLnBrk="0" hangingPunct="1">
      <a:defRPr kern="1200">
        <a:solidFill>
          <a:schemeClr val="tx1"/>
        </a:solidFill>
        <a:latin typeface="AdihausDIN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2" orient="horz" pos="1996" userDrawn="1">
          <p15:clr>
            <a:srgbClr val="A4A3A4"/>
          </p15:clr>
        </p15:guide>
        <p15:guide id="10" orient="horz" pos="1814" userDrawn="1">
          <p15:clr>
            <a:srgbClr val="A4A3A4"/>
          </p15:clr>
        </p15:guide>
        <p15:guide id="13" orient="horz" pos="2540" userDrawn="1">
          <p15:clr>
            <a:srgbClr val="A4A3A4"/>
          </p15:clr>
        </p15:guide>
        <p15:guide id="20" pos="3628" userDrawn="1">
          <p15:clr>
            <a:srgbClr val="A4A3A4"/>
          </p15:clr>
        </p15:guide>
        <p15:guide id="36" pos="4354" userDrawn="1">
          <p15:clr>
            <a:srgbClr val="A4A3A4"/>
          </p15:clr>
        </p15:guide>
        <p15:guide id="39" pos="5442" userDrawn="1">
          <p15:clr>
            <a:srgbClr val="A4A3A4"/>
          </p15:clr>
        </p15:guide>
        <p15:guide id="51" pos="181" userDrawn="1">
          <p15:clr>
            <a:srgbClr val="A4A3A4"/>
          </p15:clr>
        </p15:guide>
        <p15:guide id="53" orient="horz" pos="907">
          <p15:clr>
            <a:srgbClr val="A4A3A4"/>
          </p15:clr>
        </p15:guide>
        <p15:guide id="54" orient="horz" pos="363">
          <p15:clr>
            <a:srgbClr val="A4A3A4"/>
          </p15:clr>
        </p15:guide>
        <p15:guide id="55" orient="horz" pos="726">
          <p15:clr>
            <a:srgbClr val="A4A3A4"/>
          </p15:clr>
        </p15:guide>
        <p15:guide id="56" orient="horz" pos="1089">
          <p15:clr>
            <a:srgbClr val="A4A3A4"/>
          </p15:clr>
        </p15:guide>
        <p15:guide id="58" orient="horz" pos="2177">
          <p15:clr>
            <a:srgbClr val="A4A3A4"/>
          </p15:clr>
        </p15:guide>
        <p15:guide id="60" orient="horz" pos="2359">
          <p15:clr>
            <a:srgbClr val="A4A3A4"/>
          </p15:clr>
        </p15:guide>
        <p15:guide id="61" orient="horz" pos="2722">
          <p15:clr>
            <a:srgbClr val="A4A3A4"/>
          </p15:clr>
        </p15:guide>
        <p15:guide id="62" orient="horz" pos="2903">
          <p15:clr>
            <a:srgbClr val="A4A3A4"/>
          </p15:clr>
        </p15:guide>
        <p15:guide id="63" orient="horz" pos="182">
          <p15:clr>
            <a:srgbClr val="A4A3A4"/>
          </p15:clr>
        </p15:guide>
        <p15:guide id="64" orient="horz" pos="1633">
          <p15:clr>
            <a:srgbClr val="A4A3A4"/>
          </p15:clr>
        </p15:guide>
        <p15:guide id="65" orient="horz" pos="544">
          <p15:clr>
            <a:srgbClr val="A4A3A4"/>
          </p15:clr>
        </p15:guide>
        <p15:guide id="66" orient="horz" pos="1270">
          <p15:clr>
            <a:srgbClr val="A4A3A4"/>
          </p15:clr>
        </p15:guide>
        <p15:guide id="67" orient="horz" pos="1452">
          <p15:clr>
            <a:srgbClr val="A4A3A4"/>
          </p15:clr>
        </p15:guide>
        <p15:guide id="71" pos="3447" userDrawn="1">
          <p15:clr>
            <a:srgbClr val="A4A3A4"/>
          </p15:clr>
        </p15:guide>
        <p15:guide id="72" pos="4535">
          <p15:clr>
            <a:srgbClr val="A4A3A4"/>
          </p15:clr>
        </p15:guide>
        <p15:guide id="73" pos="4717" userDrawn="1">
          <p15:clr>
            <a:srgbClr val="A4A3A4"/>
          </p15:clr>
        </p15:guide>
        <p15:guide id="75" pos="725">
          <p15:clr>
            <a:srgbClr val="A4A3A4"/>
          </p15:clr>
        </p15:guide>
        <p15:guide id="79" pos="1632">
          <p15:clr>
            <a:srgbClr val="A4A3A4"/>
          </p15:clr>
        </p15:guide>
        <p15:guide id="82" pos="2358">
          <p15:clr>
            <a:srgbClr val="A4A3A4"/>
          </p15:clr>
        </p15:guide>
        <p15:guide id="83" pos="3084" userDrawn="1">
          <p15:clr>
            <a:srgbClr val="A4A3A4"/>
          </p15:clr>
        </p15:guide>
        <p15:guide id="84" pos="3265">
          <p15:clr>
            <a:srgbClr val="A4A3A4"/>
          </p15:clr>
        </p15:guide>
        <p15:guide id="87" pos="3991">
          <p15:clr>
            <a:srgbClr val="A4A3A4"/>
          </p15:clr>
        </p15:guide>
        <p15:guide id="88" pos="4172">
          <p15:clr>
            <a:srgbClr val="A4A3A4"/>
          </p15:clr>
        </p15:guide>
        <p15:guide id="90" pos="4898">
          <p15:clr>
            <a:srgbClr val="A4A3A4"/>
          </p15:clr>
        </p15:guide>
        <p15:guide id="91" pos="5079">
          <p15:clr>
            <a:srgbClr val="A4A3A4"/>
          </p15:clr>
        </p15:guide>
        <p15:guide id="93" pos="2540" userDrawn="1">
          <p15:clr>
            <a:srgbClr val="A4A3A4"/>
          </p15:clr>
        </p15:guide>
        <p15:guide id="96" pos="5260">
          <p15:clr>
            <a:srgbClr val="A4A3A4"/>
          </p15:clr>
        </p15:guide>
        <p15:guide id="98" pos="5624" userDrawn="1">
          <p15:clr>
            <a:srgbClr val="A4A3A4"/>
          </p15:clr>
        </p15:guide>
        <p15:guide id="99" pos="1088" userDrawn="1">
          <p15:clr>
            <a:srgbClr val="A4A3A4"/>
          </p15:clr>
        </p15:guide>
        <p15:guide id="100" pos="1995" userDrawn="1">
          <p15:clr>
            <a:srgbClr val="A4A3A4"/>
          </p15:clr>
        </p15:guide>
        <p15:guide id="101" pos="2721">
          <p15:clr>
            <a:srgbClr val="A4A3A4"/>
          </p15:clr>
        </p15:guide>
        <p15:guide id="103" pos="1814" userDrawn="1">
          <p15:clr>
            <a:srgbClr val="A4A3A4"/>
          </p15:clr>
        </p15:guide>
        <p15:guide id="104" orient="horz" pos="3085">
          <p15:clr>
            <a:srgbClr val="A4A3A4"/>
          </p15:clr>
        </p15:guide>
        <p15:guide id="105" pos="1450">
          <p15:clr>
            <a:srgbClr val="A4A3A4"/>
          </p15:clr>
        </p15:guide>
        <p15:guide id="106" pos="3810" userDrawn="1">
          <p15:clr>
            <a:srgbClr val="A4A3A4"/>
          </p15:clr>
        </p15:guide>
        <p15:guide id="108" pos="2902">
          <p15:clr>
            <a:srgbClr val="A4A3A4"/>
          </p15:clr>
        </p15:guide>
        <p15:guide id="109" pos="2177" userDrawn="1">
          <p15:clr>
            <a:srgbClr val="A4A3A4"/>
          </p15:clr>
        </p15:guide>
        <p15:guide id="110" orient="horz" pos="3084">
          <p15:clr>
            <a:srgbClr val="A4A3A4"/>
          </p15:clr>
        </p15:guide>
        <p15:guide id="111" pos="362">
          <p15:clr>
            <a:srgbClr val="A4A3A4"/>
          </p15:clr>
        </p15:guide>
        <p15:guide id="112" pos="906">
          <p15:clr>
            <a:srgbClr val="A4A3A4"/>
          </p15:clr>
        </p15:guide>
        <p15:guide id="113" pos="1269">
          <p15:clr>
            <a:srgbClr val="A4A3A4"/>
          </p15:clr>
        </p15:guide>
        <p15:guide id="114" pos="544">
          <p15:clr>
            <a:srgbClr val="A4A3A4"/>
          </p15:clr>
        </p15:guide>
        <p15:guide id="115" pos="2539">
          <p15:clr>
            <a:srgbClr val="A4A3A4"/>
          </p15:clr>
        </p15:guide>
        <p15:guide id="116" pos="181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74">
          <p15:clr>
            <a:srgbClr val="A4A3A4"/>
          </p15:clr>
        </p15:guide>
        <p15:guide id="2" orient="horz" pos="2491">
          <p15:clr>
            <a:srgbClr val="A4A3A4"/>
          </p15:clr>
        </p15:guide>
        <p15:guide id="3" orient="horz" pos="2712">
          <p15:clr>
            <a:srgbClr val="A4A3A4"/>
          </p15:clr>
        </p15:guide>
        <p15:guide id="4" orient="horz" pos="6082">
          <p15:clr>
            <a:srgbClr val="A4A3A4"/>
          </p15:clr>
        </p15:guide>
        <p15:guide id="5" pos="197">
          <p15:clr>
            <a:srgbClr val="A4A3A4"/>
          </p15:clr>
        </p15:guide>
        <p15:guide id="6" pos="4088">
          <p15:clr>
            <a:srgbClr val="A4A3A4"/>
          </p15:clr>
        </p15:guide>
        <p15:guide id="7" pos="3013">
          <p15:clr>
            <a:srgbClr val="A4A3A4"/>
          </p15:clr>
        </p15:guide>
        <p15:guide id="8" pos="279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00"/>
    <a:srgbClr val="009900"/>
    <a:srgbClr val="1E82C3"/>
    <a:srgbClr val="FFC000"/>
    <a:srgbClr val="FF3BE0"/>
    <a:srgbClr val="FFAF14"/>
    <a:srgbClr val="FF9300"/>
    <a:srgbClr val="ECEC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58" autoAdjust="0"/>
    <p:restoredTop sz="93667" autoAdjust="0"/>
  </p:normalViewPr>
  <p:slideViewPr>
    <p:cSldViewPr snapToGrid="0" snapToObjects="1" showGuides="1">
      <p:cViewPr>
        <p:scale>
          <a:sx n="150" d="100"/>
          <a:sy n="150" d="100"/>
        </p:scale>
        <p:origin x="108" y="36"/>
      </p:cViewPr>
      <p:guideLst>
        <p:guide orient="horz" pos="1996"/>
        <p:guide orient="horz" pos="1814"/>
        <p:guide orient="horz" pos="2540"/>
        <p:guide pos="3628"/>
        <p:guide pos="4354"/>
        <p:guide pos="5442"/>
        <p:guide pos="181"/>
        <p:guide orient="horz" pos="907"/>
        <p:guide orient="horz" pos="363"/>
        <p:guide orient="horz" pos="726"/>
        <p:guide orient="horz" pos="1089"/>
        <p:guide orient="horz" pos="2177"/>
        <p:guide orient="horz" pos="2359"/>
        <p:guide orient="horz" pos="2722"/>
        <p:guide orient="horz" pos="2903"/>
        <p:guide orient="horz" pos="182"/>
        <p:guide orient="horz" pos="1633"/>
        <p:guide orient="horz" pos="544"/>
        <p:guide orient="horz" pos="1270"/>
        <p:guide orient="horz" pos="1452"/>
        <p:guide pos="3447"/>
        <p:guide pos="4535"/>
        <p:guide pos="4717"/>
        <p:guide pos="725"/>
        <p:guide pos="1632"/>
        <p:guide pos="2358"/>
        <p:guide pos="3084"/>
        <p:guide pos="3265"/>
        <p:guide pos="3991"/>
        <p:guide pos="4172"/>
        <p:guide pos="4898"/>
        <p:guide pos="5079"/>
        <p:guide pos="2540"/>
        <p:guide pos="5260"/>
        <p:guide pos="5624"/>
        <p:guide pos="1088"/>
        <p:guide pos="1995"/>
        <p:guide pos="2721"/>
        <p:guide pos="1814"/>
        <p:guide orient="horz" pos="3085"/>
        <p:guide pos="1450"/>
        <p:guide pos="3810"/>
        <p:guide pos="2902"/>
        <p:guide pos="2177"/>
        <p:guide orient="horz" pos="3084"/>
        <p:guide pos="362"/>
        <p:guide pos="906"/>
        <p:guide pos="1269"/>
        <p:guide pos="544"/>
        <p:guide pos="2539"/>
        <p:guide pos="181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 snapToObjects="1" showGuides="1">
      <p:cViewPr>
        <p:scale>
          <a:sx n="75" d="100"/>
          <a:sy n="75" d="100"/>
        </p:scale>
        <p:origin x="7672" y="2096"/>
      </p:cViewPr>
      <p:guideLst>
        <p:guide orient="horz" pos="274"/>
        <p:guide orient="horz" pos="2491"/>
        <p:guide orient="horz" pos="2712"/>
        <p:guide orient="horz" pos="6082"/>
        <p:guide pos="197"/>
        <p:guide pos="4088"/>
        <p:guide pos="3013"/>
        <p:guide pos="279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Master" Target="slideMasters/slideMaster7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>
            <a:spLocks noChangeArrowheads="1"/>
          </p:cNvSpPr>
          <p:nvPr/>
        </p:nvSpPr>
        <p:spPr bwMode="gray">
          <a:xfrm>
            <a:off x="4783138" y="0"/>
            <a:ext cx="1708150" cy="17938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dihausDI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dihausDI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dihausDI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dihausDI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dihausDIN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9pPr>
          </a:lstStyle>
          <a:p>
            <a:pPr algn="ctr">
              <a:lnSpc>
                <a:spcPct val="90000"/>
              </a:lnSpc>
              <a:defRPr/>
            </a:pPr>
            <a:r>
              <a:rPr lang="en-US" altLang="de-DE" sz="700" b="0" baseline="0" dirty="0">
                <a:solidFill>
                  <a:schemeClr val="bg1"/>
                </a:solidFill>
                <a:latin typeface="adineue TEXT Light" panose="020B0303020201060004" pitchFamily="34" charset="0"/>
              </a:rPr>
              <a:t>PRESENTATION HANDOUT/NOTES</a:t>
            </a:r>
          </a:p>
        </p:txBody>
      </p:sp>
    </p:spTree>
    <p:extLst>
      <p:ext uri="{BB962C8B-B14F-4D97-AF65-F5344CB8AC3E}">
        <p14:creationId xmlns:p14="http://schemas.microsoft.com/office/powerpoint/2010/main" val="2083449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312738" y="434975"/>
            <a:ext cx="6176962" cy="3475227"/>
          </a:xfrm>
          <a:prstGeom prst="rect">
            <a:avLst/>
          </a:prstGeom>
          <a:noFill/>
          <a:ln w="12700">
            <a:noFill/>
          </a:ln>
          <a:effectLst>
            <a:outerShdw blurRad="254000" dist="12700" dir="16200000" algn="ctr" rotWithShape="0">
              <a:schemeClr val="tx1">
                <a:alpha val="30000"/>
              </a:schemeClr>
            </a:outerShdw>
          </a:effectLst>
        </p:spPr>
        <p:txBody>
          <a:bodyPr vert="horz" lIns="94702" tIns="47351" rIns="94702" bIns="4735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312738" y="4303713"/>
            <a:ext cx="4124325" cy="5349875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de-DE" noProof="0" dirty="0" err="1"/>
              <a:t>asdf</a:t>
            </a:r>
            <a:endParaRPr lang="de-DE" noProof="0" dirty="0"/>
          </a:p>
          <a:p>
            <a:pPr lvl="6"/>
            <a:r>
              <a:rPr lang="de-DE" noProof="0" dirty="0" err="1"/>
              <a:t>Asdf</a:t>
            </a:r>
            <a:endParaRPr lang="de-DE" noProof="0" dirty="0"/>
          </a:p>
          <a:p>
            <a:pPr lvl="7"/>
            <a:r>
              <a:rPr lang="de-DE" noProof="0" dirty="0" err="1"/>
              <a:t>Asdf</a:t>
            </a:r>
            <a:endParaRPr lang="de-DE" noProof="0" dirty="0"/>
          </a:p>
          <a:p>
            <a:pPr lvl="8"/>
            <a:r>
              <a:rPr lang="de-DE" noProof="0" dirty="0" err="1"/>
              <a:t>asdf</a:t>
            </a:r>
            <a:endParaRPr lang="en-US" noProof="0" dirty="0"/>
          </a:p>
        </p:txBody>
      </p:sp>
      <p:sp>
        <p:nvSpPr>
          <p:cNvPr id="49156" name="TextBox 5"/>
          <p:cNvSpPr txBox="1">
            <a:spLocks noChangeArrowheads="1"/>
          </p:cNvSpPr>
          <p:nvPr/>
        </p:nvSpPr>
        <p:spPr bwMode="gray">
          <a:xfrm>
            <a:off x="4783138" y="0"/>
            <a:ext cx="1708150" cy="17938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dihausDI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dihausDI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dihausDI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dihausDI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dihausDIN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9pPr>
          </a:lstStyle>
          <a:p>
            <a:pPr algn="ctr">
              <a:lnSpc>
                <a:spcPct val="90000"/>
              </a:lnSpc>
              <a:defRPr/>
            </a:pPr>
            <a:r>
              <a:rPr lang="en-US" altLang="de-DE" sz="700" b="0" baseline="0" dirty="0">
                <a:solidFill>
                  <a:schemeClr val="bg1"/>
                </a:solidFill>
                <a:latin typeface="adineue TEXT Light" panose="020B0303020201060004" pitchFamily="34" charset="0"/>
              </a:rPr>
              <a:t>PRESENTATION HANDOUT/NOTES</a:t>
            </a:r>
          </a:p>
        </p:txBody>
      </p:sp>
      <p:cxnSp>
        <p:nvCxnSpPr>
          <p:cNvPr id="7" name="Straight Connector 6"/>
          <p:cNvCxnSpPr/>
          <p:nvPr/>
        </p:nvCxnSpPr>
        <p:spPr bwMode="gray">
          <a:xfrm flipH="1">
            <a:off x="4783138" y="46386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 bwMode="gray">
          <a:xfrm flipH="1">
            <a:off x="4783138" y="497363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 bwMode="gray">
          <a:xfrm flipH="1">
            <a:off x="4783138" y="53070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 bwMode="gray">
          <a:xfrm flipH="1">
            <a:off x="4783138" y="56419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 bwMode="gray">
          <a:xfrm flipH="1">
            <a:off x="4783138" y="597693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 bwMode="gray">
          <a:xfrm flipH="1">
            <a:off x="4783138" y="63103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 bwMode="gray">
          <a:xfrm flipH="1">
            <a:off x="4783138" y="66452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 bwMode="gray">
          <a:xfrm flipH="1">
            <a:off x="4783138" y="6978650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 bwMode="gray">
          <a:xfrm flipH="1">
            <a:off x="4783138" y="73136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 bwMode="gray">
          <a:xfrm flipH="1">
            <a:off x="4783138" y="7648575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 bwMode="gray">
          <a:xfrm flipH="1">
            <a:off x="4783138" y="7981950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 bwMode="gray">
          <a:xfrm flipH="1">
            <a:off x="4783138" y="83169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 bwMode="gray">
          <a:xfrm flipH="1">
            <a:off x="4783138" y="865028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 bwMode="gray">
          <a:xfrm flipH="1">
            <a:off x="4783138" y="8985250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 bwMode="gray">
          <a:xfrm flipH="1">
            <a:off x="4783138" y="9320213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 bwMode="gray">
          <a:xfrm flipH="1">
            <a:off x="4783138" y="9653588"/>
            <a:ext cx="1708150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173" name="TextBox 23"/>
          <p:cNvSpPr txBox="1">
            <a:spLocks noChangeArrowheads="1"/>
          </p:cNvSpPr>
          <p:nvPr/>
        </p:nvSpPr>
        <p:spPr bwMode="gray">
          <a:xfrm>
            <a:off x="4783138" y="4303713"/>
            <a:ext cx="1708150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AdihausDIN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dihausDIN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dihausDIN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dihausDIN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dihausDIN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dihausDIN" pitchFamily="34" charset="0"/>
              </a:defRPr>
            </a:lvl9pPr>
          </a:lstStyle>
          <a:p>
            <a:pPr>
              <a:lnSpc>
                <a:spcPct val="90000"/>
              </a:lnSpc>
              <a:defRPr/>
            </a:pPr>
            <a:r>
              <a:rPr lang="en-US" altLang="de-DE" sz="900" b="0" cap="all" baseline="0" dirty="0">
                <a:solidFill>
                  <a:srgbClr val="7F7F7F"/>
                </a:solidFill>
                <a:latin typeface="adineue TEXT Light" panose="020B0303020201060004" pitchFamily="34" charset="0"/>
              </a:rPr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168732366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Wingdings" pitchFamily="2" charset="2"/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108781" indent="-108781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177800" indent="-177800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+mj-lt"/>
      <a:buAutoNum type="arabicPeriod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266700" indent="-88900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AdihausDIN" panose="020B0504020101020102" pitchFamily="34" charset="0"/>
      <a:buChar char="­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357188" indent="-176213" algn="l" defTabSz="919842" rtl="0" eaLnBrk="0" fontAlgn="base" hangingPunct="0">
      <a:lnSpc>
        <a:spcPct val="80000"/>
      </a:lnSpc>
      <a:spcBef>
        <a:spcPts val="0"/>
      </a:spcBef>
      <a:spcAft>
        <a:spcPts val="600"/>
      </a:spcAft>
      <a:buSzPct val="90000"/>
      <a:buFont typeface="adineue PRO TT Black" pitchFamily="34" charset="0"/>
      <a:buAutoNum type="arabicPeriod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0" indent="0" algn="l" defTabSz="921421" rtl="0" eaLnBrk="1" latinLnBrk="0" hangingPunct="1">
      <a:lnSpc>
        <a:spcPct val="70000"/>
      </a:lnSpc>
      <a:spcBef>
        <a:spcPts val="600"/>
      </a:spcBef>
      <a:spcAft>
        <a:spcPts val="600"/>
      </a:spcAft>
      <a:defRPr sz="2000" kern="1200" cap="all" baseline="0">
        <a:solidFill>
          <a:schemeClr val="tx1"/>
        </a:solidFill>
        <a:latin typeface="adineue TEXT Black" panose="020B0A03020201060004" pitchFamily="34" charset="0"/>
        <a:ea typeface="+mn-ea"/>
        <a:cs typeface="+mn-cs"/>
      </a:defRPr>
    </a:lvl6pPr>
    <a:lvl7pPr marL="0" indent="0" algn="l" defTabSz="921421" rtl="0" eaLnBrk="1" latinLnBrk="0" hangingPunct="1">
      <a:lnSpc>
        <a:spcPct val="70000"/>
      </a:lnSpc>
      <a:spcBef>
        <a:spcPts val="600"/>
      </a:spcBef>
      <a:spcAft>
        <a:spcPts val="600"/>
      </a:spcAft>
      <a:defRPr sz="2000" kern="1200" cap="all" baseline="0">
        <a:solidFill>
          <a:schemeClr val="tx1"/>
        </a:solidFill>
        <a:latin typeface="adiText Light Beta" pitchFamily="34" charset="0"/>
        <a:ea typeface="+mn-ea"/>
        <a:cs typeface="+mn-cs"/>
      </a:defRPr>
    </a:lvl7pPr>
    <a:lvl8pPr marL="0" indent="0" algn="l" defTabSz="921421" rtl="0" eaLnBrk="1" latinLnBrk="0" hangingPunct="1">
      <a:defRPr sz="800" kern="1200">
        <a:solidFill>
          <a:schemeClr val="tx2"/>
        </a:solidFill>
        <a:latin typeface="+mn-lt"/>
        <a:ea typeface="+mn-ea"/>
        <a:cs typeface="+mn-cs"/>
      </a:defRPr>
    </a:lvl8pPr>
    <a:lvl9pPr marL="0" indent="0" algn="l" defTabSz="921421" rtl="0" eaLnBrk="1" latinLnBrk="0" hangingPunct="1">
      <a:defRPr sz="800" kern="1200">
        <a:solidFill>
          <a:schemeClr val="tx2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738" y="434975"/>
            <a:ext cx="6176962" cy="3475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45255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8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8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8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014472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843773"/>
      </p:ext>
    </p:extLst>
  </p:cSld>
  <p:clrMapOvr>
    <a:masterClrMapping/>
  </p:clrMapOvr>
  <p:transition spd="med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3499237"/>
      </p:ext>
    </p:extLst>
  </p:cSld>
  <p:clrMapOvr>
    <a:masterClrMapping/>
  </p:clrMapOvr>
  <p:transition spd="med"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6822639"/>
      </p:ext>
    </p:extLst>
  </p:cSld>
  <p:clrMapOvr>
    <a:masterClrMapping/>
  </p:clrMapOvr>
  <p:transition spd="med"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5069027"/>
      </p:ext>
    </p:extLst>
  </p:cSld>
  <p:clrMapOvr>
    <a:masterClrMapping/>
  </p:clrMapOvr>
  <p:transition spd="med"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575791"/>
      </p:ext>
    </p:extLst>
  </p:cSld>
  <p:clrMapOvr>
    <a:masterClrMapping/>
  </p:clrMapOvr>
  <p:transition spd="med"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1016061"/>
      </p:ext>
    </p:extLst>
  </p:cSld>
  <p:clrMapOvr>
    <a:masterClrMapping/>
  </p:clrMapOvr>
  <p:transition spd="med"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AR G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0777464"/>
      </p:ext>
    </p:extLst>
  </p:cSld>
  <p:clrMapOvr>
    <a:masterClrMapping/>
  </p:clrMapOvr>
  <p:transition spd="med"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3337995"/>
      </p:ext>
    </p:extLst>
  </p:cSld>
  <p:clrMapOvr>
    <a:masterClrMapping/>
  </p:clrMapOvr>
  <p:transition spd="med"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0372049"/>
      </p:ext>
    </p:extLst>
  </p:cSld>
  <p:clrMapOvr>
    <a:masterClrMapping/>
  </p:clrMapOvr>
  <p:transition spd="med"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95520726"/>
      </p:ext>
    </p:extLst>
  </p:cSld>
  <p:clrMapOvr>
    <a:masterClrMapping/>
  </p:clrMapOvr>
  <p:transition spd="med"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7034451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7385984"/>
      </p:ext>
    </p:extLst>
  </p:cSld>
  <p:clrMapOvr>
    <a:masterClrMapping/>
  </p:clrMapOvr>
  <p:transition spd="med"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17669765"/>
      </p:ext>
    </p:extLst>
  </p:cSld>
  <p:clrMapOvr>
    <a:masterClrMapping/>
  </p:clrMapOvr>
  <p:transition spd="med"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3147694"/>
      </p:ext>
    </p:extLst>
  </p:cSld>
  <p:clrMapOvr>
    <a:masterClrMapping/>
  </p:clrMapOvr>
  <p:transition spd="med"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6936310"/>
      </p:ext>
    </p:extLst>
  </p:cSld>
  <p:clrMapOvr>
    <a:masterClrMapping/>
  </p:clrMapOvr>
  <p:transition spd="med"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978407"/>
      </p:ext>
    </p:extLst>
  </p:cSld>
  <p:clrMapOvr>
    <a:masterClrMapping/>
  </p:clrMapOvr>
  <p:transition spd="med"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1113407"/>
      </p:ext>
    </p:extLst>
  </p:cSld>
  <p:clrMapOvr>
    <a:masterClrMapping/>
  </p:clrMapOvr>
  <p:transition spd="med"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9244217"/>
      </p:ext>
    </p:extLst>
  </p:cSld>
  <p:clrMapOvr>
    <a:masterClrMapping/>
  </p:clrMapOvr>
  <p:transition spd="med"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2244906"/>
      </p:ext>
    </p:extLst>
  </p:cSld>
  <p:clrMapOvr>
    <a:masterClrMapping/>
  </p:clrMapOvr>
  <p:transition spd="med"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3199190"/>
      </p:ext>
    </p:extLst>
  </p:cSld>
  <p:clrMapOvr>
    <a:masterClrMapping/>
  </p:clrMapOvr>
  <p:transition spd="med"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3315130"/>
      </p:ext>
    </p:extLst>
  </p:cSld>
  <p:clrMapOvr>
    <a:masterClrMapping/>
  </p:clrMapOvr>
  <p:transition spd="med"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9985402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8871873"/>
      </p:ext>
    </p:extLst>
  </p:cSld>
  <p:clrMapOvr>
    <a:masterClrMapping/>
  </p:clrMapOvr>
  <p:transition spd="med"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6110829"/>
      </p:ext>
    </p:extLst>
  </p:cSld>
  <p:clrMapOvr>
    <a:masterClrMapping/>
  </p:clrMapOvr>
  <p:transition spd="med"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5148398"/>
      </p:ext>
    </p:extLst>
  </p:cSld>
  <p:clrMapOvr>
    <a:masterClrMapping/>
  </p:clrMapOvr>
  <p:transition spd="med"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8966119"/>
      </p:ext>
    </p:extLst>
  </p:cSld>
  <p:clrMapOvr>
    <a:masterClrMapping/>
  </p:clrMapOvr>
  <p:transition spd="med"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6036487"/>
      </p:ext>
    </p:extLst>
  </p:cSld>
  <p:clrMapOvr>
    <a:masterClrMapping/>
  </p:clrMapOvr>
  <p:transition spd="med"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9646416"/>
      </p:ext>
    </p:extLst>
  </p:cSld>
  <p:clrMapOvr>
    <a:masterClrMapping/>
  </p:clrMapOvr>
  <p:transition spd="med"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4670076"/>
      </p:ext>
    </p:extLst>
  </p:cSld>
  <p:clrMapOvr>
    <a:masterClrMapping/>
  </p:clrMapOvr>
  <p:transition spd="med"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41381797"/>
      </p:ext>
    </p:extLst>
  </p:cSld>
  <p:clrMapOvr>
    <a:masterClrMapping/>
  </p:clrMapOvr>
  <p:transition spd="med"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05681958"/>
      </p:ext>
    </p:extLst>
  </p:cSld>
  <p:clrMapOvr>
    <a:masterClrMapping/>
  </p:clrMapOvr>
  <p:transition spd="med"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2376007"/>
      </p:ext>
    </p:extLst>
  </p:cSld>
  <p:clrMapOvr>
    <a:masterClrMapping/>
  </p:clrMapOvr>
  <p:transition spd="med"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1190980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9470729"/>
      </p:ext>
    </p:extLst>
  </p:cSld>
  <p:clrMapOvr>
    <a:masterClrMapping/>
  </p:clrMapOvr>
  <p:transition spd="med"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3999881"/>
      </p:ext>
    </p:extLst>
  </p:cSld>
  <p:clrMapOvr>
    <a:masterClrMapping/>
  </p:clrMapOvr>
  <p:transition spd="med"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8230696"/>
      </p:ext>
    </p:extLst>
  </p:cSld>
  <p:clrMapOvr>
    <a:masterClrMapping/>
  </p:clrMapOvr>
  <p:transition spd="med"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2148409"/>
      </p:ext>
    </p:extLst>
  </p:cSld>
  <p:clrMapOvr>
    <a:masterClrMapping/>
  </p:clrMapOvr>
  <p:transition spd="med"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2361720"/>
      </p:ext>
    </p:extLst>
  </p:cSld>
  <p:clrMapOvr>
    <a:masterClrMapping/>
  </p:clrMapOvr>
  <p:transition spd="med"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0515120"/>
      </p:ext>
    </p:extLst>
  </p:cSld>
  <p:clrMapOvr>
    <a:masterClrMapping/>
  </p:clrMapOvr>
  <p:transition spd="med"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480701"/>
      </p:ext>
    </p:extLst>
  </p:cSld>
  <p:clrMapOvr>
    <a:masterClrMapping/>
  </p:clrMapOvr>
  <p:transition spd="med"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6058200"/>
      </p:ext>
    </p:extLst>
  </p:cSld>
  <p:clrMapOvr>
    <a:masterClrMapping/>
  </p:clrMapOvr>
  <p:transition spd="med"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6019053"/>
      </p:ext>
    </p:extLst>
  </p:cSld>
  <p:clrMapOvr>
    <a:masterClrMapping/>
  </p:clrMapOvr>
  <p:transition spd="med"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0914516"/>
      </p:ext>
    </p:extLst>
  </p:cSld>
  <p:clrMapOvr>
    <a:masterClrMapping/>
  </p:clrMapOvr>
  <p:transition spd="med"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7434861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4563412"/>
      </p:ext>
    </p:extLst>
  </p:cSld>
  <p:clrMapOvr>
    <a:masterClrMapping/>
  </p:clrMapOvr>
  <p:transition spd="med"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380939"/>
      </p:ext>
    </p:extLst>
  </p:cSld>
  <p:clrMapOvr>
    <a:masterClrMapping/>
  </p:clrMapOvr>
  <p:transition spd="med"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09559"/>
      </p:ext>
    </p:extLst>
  </p:cSld>
  <p:clrMapOvr>
    <a:masterClrMapping/>
  </p:clrMapOvr>
  <p:transition spd="med"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8466972"/>
      </p:ext>
    </p:extLst>
  </p:cSld>
  <p:clrMapOvr>
    <a:masterClrMapping/>
  </p:clrMapOvr>
  <p:transition spd="med"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84356876"/>
      </p:ext>
    </p:extLst>
  </p:cSld>
  <p:clrMapOvr>
    <a:masterClrMapping/>
  </p:clrMapOvr>
  <p:transition spd="med"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23078578"/>
      </p:ext>
    </p:extLst>
  </p:cSld>
  <p:clrMapOvr>
    <a:masterClrMapping/>
  </p:clrMapOvr>
  <p:transition spd="med"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88855461"/>
      </p:ext>
    </p:extLst>
  </p:cSld>
  <p:clrMapOvr>
    <a:masterClrMapping/>
  </p:clrMapOvr>
  <p:transition spd="med"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5536121"/>
      </p:ext>
    </p:extLst>
  </p:cSld>
  <p:clrMapOvr>
    <a:masterClrMapping/>
  </p:clrMapOvr>
  <p:transition spd="med"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1167162"/>
      </p:ext>
    </p:extLst>
  </p:cSld>
  <p:clrMapOvr>
    <a:masterClrMapping/>
  </p:clrMapOvr>
  <p:transition spd="med"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7590938"/>
      </p:ext>
    </p:extLst>
  </p:cSld>
  <p:clrMapOvr>
    <a:masterClrMapping/>
  </p:clrMapOvr>
  <p:transition spd="med"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6477519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0231990"/>
      </p:ext>
    </p:extLst>
  </p:cSld>
  <p:clrMapOvr>
    <a:masterClrMapping/>
  </p:clrMapOvr>
  <p:transition spd="med"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7235075"/>
      </p:ext>
    </p:extLst>
  </p:cSld>
  <p:clrMapOvr>
    <a:masterClrMapping/>
  </p:clrMapOvr>
  <p:transition spd="med"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7391472"/>
      </p:ext>
    </p:extLst>
  </p:cSld>
  <p:clrMapOvr>
    <a:masterClrMapping/>
  </p:clrMapOvr>
  <p:transition spd="med"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910727"/>
      </p:ext>
    </p:extLst>
  </p:cSld>
  <p:clrMapOvr>
    <a:masterClrMapping/>
  </p:clrMapOvr>
  <p:transition spd="med"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054139"/>
      </p:ext>
    </p:extLst>
  </p:cSld>
  <p:clrMapOvr>
    <a:masterClrMapping/>
  </p:clrMapOvr>
  <p:transition spd="med"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1796151"/>
      </p:ext>
    </p:extLst>
  </p:cSld>
  <p:clrMapOvr>
    <a:masterClrMapping/>
  </p:clrMapOvr>
  <p:transition spd="med"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222899"/>
      </p:ext>
    </p:extLst>
  </p:cSld>
  <p:clrMapOvr>
    <a:masterClrMapping/>
  </p:clrMapOvr>
  <p:transition spd="med"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5650687"/>
      </p:ext>
    </p:extLst>
  </p:cSld>
  <p:clrMapOvr>
    <a:masterClrMapping/>
  </p:clrMapOvr>
  <p:transition spd="med"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155354"/>
      </p:ext>
    </p:extLst>
  </p:cSld>
  <p:clrMapOvr>
    <a:masterClrMapping/>
  </p:clrMapOvr>
  <p:transition spd="med"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816811"/>
      </p:ext>
    </p:extLst>
  </p:cSld>
  <p:clrMapOvr>
    <a:masterClrMapping/>
  </p:clrMapOvr>
  <p:transition spd="med"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9963201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1269053"/>
      </p:ext>
    </p:extLst>
  </p:cSld>
  <p:clrMapOvr>
    <a:masterClrMapping/>
  </p:clrMapOvr>
  <p:transition spd="med"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8209813"/>
      </p:ext>
    </p:extLst>
  </p:cSld>
  <p:clrMapOvr>
    <a:masterClrMapping/>
  </p:clrMapOvr>
  <p:transition spd="med"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18966901"/>
      </p:ext>
    </p:extLst>
  </p:cSld>
  <p:clrMapOvr>
    <a:masterClrMapping/>
  </p:clrMapOvr>
  <p:transition spd="med"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61522062"/>
      </p:ext>
    </p:extLst>
  </p:cSld>
  <p:clrMapOvr>
    <a:masterClrMapping/>
  </p:clrMapOvr>
  <p:transition spd="med"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6618692"/>
      </p:ext>
    </p:extLst>
  </p:cSld>
  <p:clrMapOvr>
    <a:masterClrMapping/>
  </p:clrMapOvr>
  <p:transition spd="med"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4499821"/>
      </p:ext>
    </p:extLst>
  </p:cSld>
  <p:clrMapOvr>
    <a:masterClrMapping/>
  </p:clrMapOvr>
  <p:transition spd="med"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7649682"/>
      </p:ext>
    </p:extLst>
  </p:cSld>
  <p:clrMapOvr>
    <a:masterClrMapping/>
  </p:clrMapOvr>
  <p:transition spd="med"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3580493"/>
      </p:ext>
    </p:extLst>
  </p:cSld>
  <p:clrMapOvr>
    <a:masterClrMapping/>
  </p:clrMapOvr>
  <p:transition spd="med"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372652"/>
      </p:ext>
    </p:extLst>
  </p:cSld>
  <p:clrMapOvr>
    <a:masterClrMapping/>
  </p:clrMapOvr>
  <p:transition spd="med"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205420"/>
      </p:ext>
    </p:extLst>
  </p:cSld>
  <p:clrMapOvr>
    <a:masterClrMapping/>
  </p:clrMapOvr>
  <p:transition spd="med"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760349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7666022"/>
      </p:ext>
    </p:extLst>
  </p:cSld>
  <p:clrMapOvr>
    <a:masterClrMapping/>
  </p:clrMapOvr>
  <p:transition spd="med"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6935116"/>
      </p:ext>
    </p:extLst>
  </p:cSld>
  <p:clrMapOvr>
    <a:masterClrMapping/>
  </p:clrMapOvr>
  <p:transition spd="med">
    <p:fade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2727819"/>
      </p:ext>
    </p:extLst>
  </p:cSld>
  <p:clrMapOvr>
    <a:masterClrMapping/>
  </p:clrMapOvr>
  <p:transition spd="med"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9400325"/>
      </p:ext>
    </p:extLst>
  </p:cSld>
  <p:clrMapOvr>
    <a:masterClrMapping/>
  </p:clrMapOvr>
  <p:transition spd="med"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9955491"/>
      </p:ext>
    </p:extLst>
  </p:cSld>
  <p:clrMapOvr>
    <a:masterClrMapping/>
  </p:clrMapOvr>
  <p:transition spd="med"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2705717"/>
      </p:ext>
    </p:extLst>
  </p:cSld>
  <p:clrMapOvr>
    <a:masterClrMapping/>
  </p:clrMapOvr>
  <p:transition spd="med"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9877868"/>
      </p:ext>
    </p:extLst>
  </p:cSld>
  <p:clrMapOvr>
    <a:masterClrMapping/>
  </p:clrMapOvr>
  <p:transition spd="med"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0374089"/>
      </p:ext>
    </p:extLst>
  </p:cSld>
  <p:clrMapOvr>
    <a:masterClrMapping/>
  </p:clrMapOvr>
  <p:transition spd="med"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8009734"/>
      </p:ext>
    </p:extLst>
  </p:cSld>
  <p:clrMapOvr>
    <a:masterClrMapping/>
  </p:clrMapOvr>
  <p:transition spd="med"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75829768"/>
      </p:ext>
    </p:extLst>
  </p:cSld>
  <p:clrMapOvr>
    <a:masterClrMapping/>
  </p:clrMapOvr>
  <p:transition spd="med"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88228558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9316086"/>
      </p:ext>
    </p:extLst>
  </p:cSld>
  <p:clrMapOvr>
    <a:masterClrMapping/>
  </p:clrMapOvr>
  <p:transition spd="med"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77717474"/>
      </p:ext>
    </p:extLst>
  </p:cSld>
  <p:clrMapOvr>
    <a:masterClrMapping/>
  </p:clrMapOvr>
  <p:transition spd="med"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96276"/>
      </p:ext>
    </p:extLst>
  </p:cSld>
  <p:clrMapOvr>
    <a:masterClrMapping/>
  </p:clrMapOvr>
  <p:transition spd="med"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6382222"/>
      </p:ext>
    </p:extLst>
  </p:cSld>
  <p:clrMapOvr>
    <a:masterClrMapping/>
  </p:clrMapOvr>
  <p:transition spd="med"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649322"/>
      </p:ext>
    </p:extLst>
  </p:cSld>
  <p:clrMapOvr>
    <a:masterClrMapping/>
  </p:clrMapOvr>
  <p:transition spd="med"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5262320"/>
      </p:ext>
    </p:extLst>
  </p:cSld>
  <p:clrMapOvr>
    <a:masterClrMapping/>
  </p:clrMapOvr>
  <p:transition spd="med"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8992515"/>
      </p:ext>
    </p:extLst>
  </p:cSld>
  <p:clrMapOvr>
    <a:masterClrMapping/>
  </p:clrMapOvr>
  <p:transition spd="med"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3728966"/>
      </p:ext>
    </p:extLst>
  </p:cSld>
  <p:clrMapOvr>
    <a:masterClrMapping/>
  </p:clrMapOvr>
  <p:transition spd="med"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2713595"/>
      </p:ext>
    </p:extLst>
  </p:cSld>
  <p:clrMapOvr>
    <a:masterClrMapping/>
  </p:clrMapOvr>
  <p:transition spd="med"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2518306"/>
      </p:ext>
    </p:extLst>
  </p:cSld>
  <p:clrMapOvr>
    <a:masterClrMapping/>
  </p:clrMapOvr>
  <p:transition spd="med"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4500759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3973451"/>
      </p:ext>
    </p:extLst>
  </p:cSld>
  <p:clrMapOvr>
    <a:masterClrMapping/>
  </p:clrMapOvr>
  <p:transition spd="med"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974029"/>
      </p:ext>
    </p:extLst>
  </p:cSld>
  <p:clrMapOvr>
    <a:masterClrMapping/>
  </p:clrMapOvr>
  <p:transition spd="med"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9010230"/>
      </p:ext>
    </p:extLst>
  </p:cSld>
  <p:clrMapOvr>
    <a:masterClrMapping/>
  </p:clrMapOvr>
  <p:transition spd="med"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000128"/>
      </p:ext>
    </p:extLst>
  </p:cSld>
  <p:clrMapOvr>
    <a:masterClrMapping/>
  </p:clrMapOvr>
  <p:transition spd="med"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5255841"/>
      </p:ext>
    </p:extLst>
  </p:cSld>
  <p:clrMapOvr>
    <a:masterClrMapping/>
  </p:clrMapOvr>
  <p:transition spd="med"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3432731"/>
      </p:ext>
    </p:extLst>
  </p:cSld>
  <p:clrMapOvr>
    <a:masterClrMapping/>
  </p:clrMapOvr>
  <p:transition spd="med"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7285741"/>
      </p:ext>
    </p:extLst>
  </p:cSld>
  <p:clrMapOvr>
    <a:masterClrMapping/>
  </p:clrMapOvr>
  <p:transition spd="med"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40802674"/>
      </p:ext>
    </p:extLst>
  </p:cSld>
  <p:clrMapOvr>
    <a:masterClrMapping/>
  </p:clrMapOvr>
  <p:transition spd="med"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40921774"/>
      </p:ext>
    </p:extLst>
  </p:cSld>
  <p:clrMapOvr>
    <a:masterClrMapping/>
  </p:clrMapOvr>
  <p:transition spd="med"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0394710"/>
      </p:ext>
    </p:extLst>
  </p:cSld>
  <p:clrMapOvr>
    <a:masterClrMapping/>
  </p:clrMapOvr>
  <p:transition spd="med"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528283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6373981"/>
      </p:ext>
    </p:extLst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7321023"/>
      </p:ext>
    </p:extLst>
  </p:cSld>
  <p:clrMapOvr>
    <a:masterClrMapping/>
  </p:clrMapOvr>
  <p:transition spd="med"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8712096"/>
      </p:ext>
    </p:extLst>
  </p:cSld>
  <p:clrMapOvr>
    <a:masterClrMapping/>
  </p:clrMapOvr>
  <p:transition spd="med"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252070"/>
      </p:ext>
    </p:extLst>
  </p:cSld>
  <p:clrMapOvr>
    <a:masterClrMapping/>
  </p:clrMapOvr>
  <p:transition spd="med"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7857014"/>
      </p:ext>
    </p:extLst>
  </p:cSld>
  <p:clrMapOvr>
    <a:masterClrMapping/>
  </p:clrMapOvr>
  <p:transition spd="med"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987129"/>
      </p:ext>
    </p:extLst>
  </p:cSld>
  <p:clrMapOvr>
    <a:masterClrMapping/>
  </p:clrMapOvr>
  <p:transition spd="med"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0868759"/>
      </p:ext>
    </p:extLst>
  </p:cSld>
  <p:clrMapOvr>
    <a:masterClrMapping/>
  </p:clrMapOvr>
  <p:transition spd="med"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8396912"/>
      </p:ext>
    </p:extLst>
  </p:cSld>
  <p:clrMapOvr>
    <a:masterClrMapping/>
  </p:clrMapOvr>
  <p:transition spd="med"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3803017"/>
      </p:ext>
    </p:extLst>
  </p:cSld>
  <p:clrMapOvr>
    <a:masterClrMapping/>
  </p:clrMapOvr>
  <p:transition spd="med"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5629898"/>
      </p:ext>
    </p:extLst>
  </p:cSld>
  <p:clrMapOvr>
    <a:masterClrMapping/>
  </p:clrMapOvr>
  <p:transition spd="med"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3432339"/>
      </p:ext>
    </p:extLst>
  </p:cSld>
  <p:clrMapOvr>
    <a:masterClrMapping/>
  </p:clrMapOvr>
  <p:transition spd="med"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2703786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15877919"/>
      </p:ext>
    </p:extLst>
  </p:cSld>
  <p:clrMapOvr>
    <a:masterClrMapping/>
  </p:clrMapOvr>
  <p:transition spd="med"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5786313"/>
      </p:ext>
    </p:extLst>
  </p:cSld>
  <p:clrMapOvr>
    <a:masterClrMapping/>
  </p:clrMapOvr>
  <p:transition spd="med"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7357487"/>
      </p:ext>
    </p:extLst>
  </p:cSld>
  <p:clrMapOvr>
    <a:masterClrMapping/>
  </p:clrMapOvr>
  <p:transition spd="med"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3893480"/>
      </p:ext>
    </p:extLst>
  </p:cSld>
  <p:clrMapOvr>
    <a:masterClrMapping/>
  </p:clrMapOvr>
  <p:transition spd="med">
    <p:fade/>
  </p:transition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4415224"/>
      </p:ext>
    </p:extLst>
  </p:cSld>
  <p:clrMapOvr>
    <a:masterClrMapping/>
  </p:clrMapOvr>
  <p:transition spd="med">
    <p:fade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99415014"/>
      </p:ext>
    </p:extLst>
  </p:cSld>
  <p:clrMapOvr>
    <a:masterClrMapping/>
  </p:clrMapOvr>
  <p:transition spd="med">
    <p:fade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90294679"/>
      </p:ext>
    </p:extLst>
  </p:cSld>
  <p:clrMapOvr>
    <a:masterClrMapping/>
  </p:clrMapOvr>
  <p:transition spd="med">
    <p:fade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4169417"/>
      </p:ext>
    </p:extLst>
  </p:cSld>
  <p:clrMapOvr>
    <a:masterClrMapping/>
  </p:clrMapOvr>
  <p:transition spd="med">
    <p:fade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0033703"/>
      </p:ext>
    </p:extLst>
  </p:cSld>
  <p:clrMapOvr>
    <a:masterClrMapping/>
  </p:clrMapOvr>
  <p:transition spd="med">
    <p:fade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2364633"/>
      </p:ext>
    </p:extLst>
  </p:cSld>
  <p:clrMapOvr>
    <a:masterClrMapping/>
  </p:clrMapOvr>
  <p:transition spd="med">
    <p:fad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5294481"/>
      </p:ext>
    </p:extLst>
  </p:cSld>
  <p:clrMapOvr>
    <a:masterClrMapping/>
  </p:clrMapOvr>
  <p:transition spd="med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62952428"/>
      </p:ext>
    </p:extLst>
  </p:cSld>
  <p:clrMapOvr>
    <a:masterClrMapping/>
  </p:clrMapOvr>
  <p:transition spd="med">
    <p:fad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60144867"/>
      </p:ext>
    </p:extLst>
  </p:cSld>
  <p:clrMapOvr>
    <a:masterClrMapping/>
  </p:clrMapOvr>
  <p:transition spd="med">
    <p:fade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7189997"/>
      </p:ext>
    </p:extLst>
  </p:cSld>
  <p:clrMapOvr>
    <a:masterClrMapping/>
  </p:clrMapOvr>
  <p:transition spd="med">
    <p:fade/>
  </p:transition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9829061"/>
      </p:ext>
    </p:extLst>
  </p:cSld>
  <p:clrMapOvr>
    <a:masterClrMapping/>
  </p:clrMapOvr>
  <p:transition spd="med">
    <p:fade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3437529"/>
      </p:ext>
    </p:extLst>
  </p:cSld>
  <p:clrMapOvr>
    <a:masterClrMapping/>
  </p:clrMapOvr>
  <p:transition spd="med">
    <p:fade/>
  </p:transition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7962282"/>
      </p:ext>
    </p:extLst>
  </p:cSld>
  <p:clrMapOvr>
    <a:masterClrMapping/>
  </p:clrMapOvr>
  <p:transition spd="med"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6019892"/>
      </p:ext>
    </p:extLst>
  </p:cSld>
  <p:clrMapOvr>
    <a:masterClrMapping/>
  </p:clrMapOvr>
  <p:transition spd="med">
    <p:fad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5304288"/>
      </p:ext>
    </p:extLst>
  </p:cSld>
  <p:clrMapOvr>
    <a:masterClrMapping/>
  </p:clrMapOvr>
  <p:transition spd="med">
    <p:fad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61484031"/>
      </p:ext>
    </p:extLst>
  </p:cSld>
  <p:clrMapOvr>
    <a:masterClrMapping/>
  </p:clrMapOvr>
  <p:transition spd="med"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2064912"/>
      </p:ext>
    </p:extLst>
  </p:cSld>
  <p:clrMapOvr>
    <a:masterClrMapping/>
  </p:clrMapOvr>
  <p:transition spd="med">
    <p:fade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004530"/>
      </p:ext>
    </p:extLst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5854526"/>
      </p:ext>
    </p:extLst>
  </p:cSld>
  <p:clrMapOvr>
    <a:masterClrMapping/>
  </p:clrMapOvr>
  <p:transition spd="med">
    <p:fad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6078915"/>
      </p:ext>
    </p:extLst>
  </p:cSld>
  <p:clrMapOvr>
    <a:masterClrMapping/>
  </p:clrMapOvr>
  <p:transition spd="med"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5472167"/>
      </p:ext>
    </p:extLst>
  </p:cSld>
  <p:clrMapOvr>
    <a:masterClrMapping/>
  </p:clrMapOvr>
  <p:transition spd="med"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49696898"/>
      </p:ext>
    </p:extLst>
  </p:cSld>
  <p:clrMapOvr>
    <a:masterClrMapping/>
  </p:clrMapOvr>
  <p:transition spd="med"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706102"/>
      </p:ext>
    </p:extLst>
  </p:cSld>
  <p:clrMapOvr>
    <a:masterClrMapping/>
  </p:clrMapOvr>
  <p:transition spd="med">
    <p:fad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297352"/>
      </p:ext>
    </p:extLst>
  </p:cSld>
  <p:clrMapOvr>
    <a:masterClrMapping/>
  </p:clrMapOvr>
  <p:transition spd="med">
    <p:fad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083252"/>
      </p:ext>
    </p:extLst>
  </p:cSld>
  <p:clrMapOvr>
    <a:masterClrMapping/>
  </p:clrMapOvr>
  <p:transition spd="med">
    <p:fad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231722"/>
      </p:ext>
    </p:extLst>
  </p:cSld>
  <p:clrMapOvr>
    <a:masterClrMapping/>
  </p:clrMapOvr>
  <p:transition spd="med"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3222356"/>
      </p:ext>
    </p:extLst>
  </p:cSld>
  <p:clrMapOvr>
    <a:masterClrMapping/>
  </p:clrMapOvr>
  <p:transition spd="med"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6882011"/>
      </p:ext>
    </p:extLst>
  </p:cSld>
  <p:clrMapOvr>
    <a:masterClrMapping/>
  </p:clrMapOvr>
  <p:transition spd="med"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6790394"/>
      </p:ext>
    </p:extLst>
  </p:cSld>
  <p:clrMapOvr>
    <a:masterClrMapping/>
  </p:clrMapOvr>
  <p:transition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6493421"/>
      </p:ext>
    </p:extLst>
  </p:cSld>
  <p:clrMapOvr>
    <a:masterClrMapping/>
  </p:clrMapOvr>
  <p:transition spd="med">
    <p:fade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514225"/>
      </p:ext>
    </p:extLst>
  </p:cSld>
  <p:clrMapOvr>
    <a:masterClrMapping/>
  </p:clrMapOvr>
  <p:transition spd="med"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7588592"/>
      </p:ext>
    </p:extLst>
  </p:cSld>
  <p:clrMapOvr>
    <a:masterClrMapping/>
  </p:clrMapOvr>
  <p:transition spd="med"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563418"/>
      </p:ext>
    </p:extLst>
  </p:cSld>
  <p:clrMapOvr>
    <a:masterClrMapping/>
  </p:clrMapOvr>
  <p:transition spd="med"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0510"/>
      </p:ext>
    </p:extLst>
  </p:cSld>
  <p:clrMapOvr>
    <a:masterClrMapping/>
  </p:clrMapOvr>
  <p:transition spd="med"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1412345"/>
      </p:ext>
    </p:extLst>
  </p:cSld>
  <p:clrMapOvr>
    <a:masterClrMapping/>
  </p:clrMapOvr>
  <p:transition spd="med"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ERGY 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0128685"/>
      </p:ext>
    </p:extLst>
  </p:cSld>
  <p:clrMapOvr>
    <a:masterClrMapping/>
  </p:clrMapOvr>
  <p:transition spd="med"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8828B2A-4D8F-4AAE-A4EF-E5DA61129E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8828B2A-4D8F-4AAE-A4EF-E5DA61129E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ACCDC3A-BCE2-4BD9-A8E9-054FBA215892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0" i="0" baseline="0" dirty="0">
              <a:solidFill>
                <a:schemeClr val="bg1"/>
              </a:solidFill>
              <a:latin typeface="adineue PRO Black" panose="020B0A03020201060004" pitchFamily="34" charset="0"/>
              <a:ea typeface="+mj-ea"/>
              <a:cs typeface="+mj-cs"/>
              <a:sym typeface="adineue PRO Black" panose="020B0A03020201060004" pitchFamily="34" charset="0"/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3BD013A-A320-4DAA-90F5-5AE6DE25FD9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-1"/>
            <a:ext cx="9215438" cy="5184775"/>
          </a:xfrm>
          <a:solidFill>
            <a:schemeClr val="bg1">
              <a:lumMod val="50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C3CDD25-1FFE-4C8A-89D2-84D336CE9CD9}"/>
              </a:ext>
            </a:extLst>
          </p:cNvPr>
          <p:cNvSpPr/>
          <p:nvPr userDrawn="1"/>
        </p:nvSpPr>
        <p:spPr bwMode="gray">
          <a:xfrm>
            <a:off x="465839" y="2247900"/>
            <a:ext cx="7862980" cy="2597150"/>
          </a:xfrm>
          <a:prstGeom prst="rect">
            <a:avLst/>
          </a:prstGeom>
          <a:solidFill>
            <a:schemeClr val="accent3">
              <a:alpha val="90000"/>
            </a:schemeClr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>
              <a:spcAft>
                <a:spcPts val="600"/>
              </a:spcAft>
            </a:pPr>
            <a:endParaRPr lang="en-US" sz="1400" b="1" dirty="0">
              <a:solidFill>
                <a:schemeClr val="bg1"/>
              </a:solidFill>
              <a:latin typeface="+mj-lt"/>
              <a:cs typeface="AdihausDIN Cn" panose="020B0506020101010102" pitchFamily="34" charset="0"/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676229" y="3576751"/>
            <a:ext cx="7442200" cy="456123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6229" y="1728390"/>
            <a:ext cx="744220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4CEB5D7-12CC-4940-B511-8E9099FE97C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6230" y="4419600"/>
            <a:ext cx="7442199" cy="243255"/>
          </a:xfrm>
        </p:spPr>
        <p:txBody>
          <a:bodyPr anchor="ctr"/>
          <a:lstStyle>
            <a:lvl1pPr>
              <a:defRPr sz="105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insert date</a:t>
            </a:r>
          </a:p>
        </p:txBody>
      </p:sp>
      <p:sp>
        <p:nvSpPr>
          <p:cNvPr id="14" name="Freeform 6">
            <a:extLst>
              <a:ext uri="{FF2B5EF4-FFF2-40B4-BE49-F238E27FC236}">
                <a16:creationId xmlns:a16="http://schemas.microsoft.com/office/drawing/2014/main" id="{0AFE67DD-E5E7-4056-AE91-900196AD79C0}"/>
              </a:ext>
            </a:extLst>
          </p:cNvPr>
          <p:cNvSpPr>
            <a:spLocks noEditPoints="1"/>
          </p:cNvSpPr>
          <p:nvPr userDrawn="1"/>
        </p:nvSpPr>
        <p:spPr bwMode="gray">
          <a:xfrm>
            <a:off x="6967429" y="1404208"/>
            <a:ext cx="1440413" cy="332367"/>
          </a:xfrm>
          <a:custGeom>
            <a:avLst/>
            <a:gdLst>
              <a:gd name="T0" fmla="*/ 464 w 2583"/>
              <a:gd name="T1" fmla="*/ 586 h 596"/>
              <a:gd name="T2" fmla="*/ 355 w 2583"/>
              <a:gd name="T3" fmla="*/ 149 h 596"/>
              <a:gd name="T4" fmla="*/ 226 w 2583"/>
              <a:gd name="T5" fmla="*/ 144 h 596"/>
              <a:gd name="T6" fmla="*/ 226 w 2583"/>
              <a:gd name="T7" fmla="*/ 596 h 596"/>
              <a:gd name="T8" fmla="*/ 355 w 2583"/>
              <a:gd name="T9" fmla="*/ 586 h 596"/>
              <a:gd name="T10" fmla="*/ 231 w 2583"/>
              <a:gd name="T11" fmla="*/ 245 h 596"/>
              <a:gd name="T12" fmla="*/ 231 w 2583"/>
              <a:gd name="T13" fmla="*/ 495 h 596"/>
              <a:gd name="T14" fmla="*/ 864 w 2583"/>
              <a:gd name="T15" fmla="*/ 0 h 596"/>
              <a:gd name="T16" fmla="*/ 734 w 2583"/>
              <a:gd name="T17" fmla="*/ 144 h 596"/>
              <a:gd name="T18" fmla="*/ 734 w 2583"/>
              <a:gd name="T19" fmla="*/ 596 h 596"/>
              <a:gd name="T20" fmla="*/ 864 w 2583"/>
              <a:gd name="T21" fmla="*/ 586 h 596"/>
              <a:gd name="T22" fmla="*/ 972 w 2583"/>
              <a:gd name="T23" fmla="*/ 0 h 596"/>
              <a:gd name="T24" fmla="*/ 614 w 2583"/>
              <a:gd name="T25" fmla="*/ 370 h 596"/>
              <a:gd name="T26" fmla="*/ 864 w 2583"/>
              <a:gd name="T27" fmla="*/ 370 h 596"/>
              <a:gd name="T28" fmla="*/ 614 w 2583"/>
              <a:gd name="T29" fmla="*/ 370 h 596"/>
              <a:gd name="T30" fmla="*/ 1134 w 2583"/>
              <a:gd name="T31" fmla="*/ 0 h 596"/>
              <a:gd name="T32" fmla="*/ 1025 w 2583"/>
              <a:gd name="T33" fmla="*/ 109 h 596"/>
              <a:gd name="T34" fmla="*/ 1134 w 2583"/>
              <a:gd name="T35" fmla="*/ 586 h 596"/>
              <a:gd name="T36" fmla="*/ 1025 w 2583"/>
              <a:gd name="T37" fmla="*/ 149 h 596"/>
              <a:gd name="T38" fmla="*/ 1134 w 2583"/>
              <a:gd name="T39" fmla="*/ 586 h 596"/>
              <a:gd name="T40" fmla="*/ 1534 w 2583"/>
              <a:gd name="T41" fmla="*/ 184 h 596"/>
              <a:gd name="T42" fmla="*/ 1179 w 2583"/>
              <a:gd name="T43" fmla="*/ 370 h 596"/>
              <a:gd name="T44" fmla="*/ 1534 w 2583"/>
              <a:gd name="T45" fmla="*/ 555 h 596"/>
              <a:gd name="T46" fmla="*/ 1642 w 2583"/>
              <a:gd name="T47" fmla="*/ 586 h 596"/>
              <a:gd name="T48" fmla="*/ 1534 w 2583"/>
              <a:gd name="T49" fmla="*/ 0 h 596"/>
              <a:gd name="T50" fmla="*/ 1410 w 2583"/>
              <a:gd name="T51" fmla="*/ 245 h 596"/>
              <a:gd name="T52" fmla="*/ 1410 w 2583"/>
              <a:gd name="T53" fmla="*/ 495 h 596"/>
              <a:gd name="T54" fmla="*/ 2042 w 2583"/>
              <a:gd name="T55" fmla="*/ 586 h 596"/>
              <a:gd name="T56" fmla="*/ 2151 w 2583"/>
              <a:gd name="T57" fmla="*/ 149 h 596"/>
              <a:gd name="T58" fmla="*/ 2042 w 2583"/>
              <a:gd name="T59" fmla="*/ 184 h 596"/>
              <a:gd name="T60" fmla="*/ 1687 w 2583"/>
              <a:gd name="T61" fmla="*/ 370 h 596"/>
              <a:gd name="T62" fmla="*/ 2042 w 2583"/>
              <a:gd name="T63" fmla="*/ 555 h 596"/>
              <a:gd name="T64" fmla="*/ 1793 w 2583"/>
              <a:gd name="T65" fmla="*/ 370 h 596"/>
              <a:gd name="T66" fmla="*/ 2043 w 2583"/>
              <a:gd name="T67" fmla="*/ 370 h 596"/>
              <a:gd name="T68" fmla="*/ 1793 w 2583"/>
              <a:gd name="T69" fmla="*/ 370 h 596"/>
              <a:gd name="T70" fmla="*/ 2396 w 2583"/>
              <a:gd name="T71" fmla="*/ 595 h 596"/>
              <a:gd name="T72" fmla="*/ 2456 w 2583"/>
              <a:gd name="T73" fmla="*/ 326 h 596"/>
              <a:gd name="T74" fmla="*/ 2311 w 2583"/>
              <a:gd name="T75" fmla="*/ 269 h 596"/>
              <a:gd name="T76" fmla="*/ 2457 w 2583"/>
              <a:gd name="T77" fmla="*/ 287 h 596"/>
              <a:gd name="T78" fmla="*/ 2382 w 2583"/>
              <a:gd name="T79" fmla="*/ 144 h 596"/>
              <a:gd name="T80" fmla="*/ 2350 w 2583"/>
              <a:gd name="T81" fmla="*/ 416 h 596"/>
              <a:gd name="T82" fmla="*/ 2467 w 2583"/>
              <a:gd name="T83" fmla="*/ 470 h 596"/>
              <a:gd name="T84" fmla="*/ 2302 w 2583"/>
              <a:gd name="T85" fmla="*/ 444 h 5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583" h="596">
                <a:moveTo>
                  <a:pt x="355" y="586"/>
                </a:moveTo>
                <a:cubicBezTo>
                  <a:pt x="464" y="586"/>
                  <a:pt x="464" y="586"/>
                  <a:pt x="464" y="586"/>
                </a:cubicBezTo>
                <a:cubicBezTo>
                  <a:pt x="464" y="149"/>
                  <a:pt x="464" y="149"/>
                  <a:pt x="464" y="149"/>
                </a:cubicBezTo>
                <a:cubicBezTo>
                  <a:pt x="355" y="149"/>
                  <a:pt x="355" y="149"/>
                  <a:pt x="355" y="149"/>
                </a:cubicBezTo>
                <a:cubicBezTo>
                  <a:pt x="355" y="184"/>
                  <a:pt x="355" y="184"/>
                  <a:pt x="355" y="184"/>
                </a:cubicBezTo>
                <a:cubicBezTo>
                  <a:pt x="318" y="158"/>
                  <a:pt x="274" y="144"/>
                  <a:pt x="226" y="144"/>
                </a:cubicBezTo>
                <a:cubicBezTo>
                  <a:pt x="101" y="144"/>
                  <a:pt x="0" y="245"/>
                  <a:pt x="0" y="370"/>
                </a:cubicBezTo>
                <a:cubicBezTo>
                  <a:pt x="0" y="495"/>
                  <a:pt x="101" y="596"/>
                  <a:pt x="226" y="596"/>
                </a:cubicBezTo>
                <a:cubicBezTo>
                  <a:pt x="274" y="596"/>
                  <a:pt x="318" y="581"/>
                  <a:pt x="355" y="555"/>
                </a:cubicBezTo>
                <a:cubicBezTo>
                  <a:pt x="355" y="586"/>
                  <a:pt x="355" y="586"/>
                  <a:pt x="355" y="586"/>
                </a:cubicBezTo>
                <a:close/>
                <a:moveTo>
                  <a:pt x="106" y="370"/>
                </a:moveTo>
                <a:cubicBezTo>
                  <a:pt x="106" y="300"/>
                  <a:pt x="162" y="245"/>
                  <a:pt x="231" y="245"/>
                </a:cubicBezTo>
                <a:cubicBezTo>
                  <a:pt x="300" y="245"/>
                  <a:pt x="356" y="300"/>
                  <a:pt x="356" y="370"/>
                </a:cubicBezTo>
                <a:cubicBezTo>
                  <a:pt x="356" y="439"/>
                  <a:pt x="300" y="495"/>
                  <a:pt x="231" y="495"/>
                </a:cubicBezTo>
                <a:cubicBezTo>
                  <a:pt x="162" y="495"/>
                  <a:pt x="106" y="439"/>
                  <a:pt x="106" y="370"/>
                </a:cubicBezTo>
                <a:close/>
                <a:moveTo>
                  <a:pt x="864" y="0"/>
                </a:moveTo>
                <a:cubicBezTo>
                  <a:pt x="864" y="184"/>
                  <a:pt x="864" y="184"/>
                  <a:pt x="864" y="184"/>
                </a:cubicBezTo>
                <a:cubicBezTo>
                  <a:pt x="827" y="158"/>
                  <a:pt x="782" y="144"/>
                  <a:pt x="734" y="144"/>
                </a:cubicBezTo>
                <a:cubicBezTo>
                  <a:pt x="609" y="144"/>
                  <a:pt x="508" y="245"/>
                  <a:pt x="508" y="370"/>
                </a:cubicBezTo>
                <a:cubicBezTo>
                  <a:pt x="508" y="495"/>
                  <a:pt x="609" y="596"/>
                  <a:pt x="734" y="596"/>
                </a:cubicBezTo>
                <a:cubicBezTo>
                  <a:pt x="782" y="596"/>
                  <a:pt x="827" y="581"/>
                  <a:pt x="864" y="555"/>
                </a:cubicBezTo>
                <a:cubicBezTo>
                  <a:pt x="864" y="586"/>
                  <a:pt x="864" y="586"/>
                  <a:pt x="864" y="586"/>
                </a:cubicBezTo>
                <a:cubicBezTo>
                  <a:pt x="972" y="586"/>
                  <a:pt x="972" y="586"/>
                  <a:pt x="972" y="586"/>
                </a:cubicBezTo>
                <a:cubicBezTo>
                  <a:pt x="972" y="0"/>
                  <a:pt x="972" y="0"/>
                  <a:pt x="972" y="0"/>
                </a:cubicBezTo>
                <a:cubicBezTo>
                  <a:pt x="864" y="0"/>
                  <a:pt x="864" y="0"/>
                  <a:pt x="864" y="0"/>
                </a:cubicBezTo>
                <a:close/>
                <a:moveTo>
                  <a:pt x="614" y="370"/>
                </a:moveTo>
                <a:cubicBezTo>
                  <a:pt x="614" y="300"/>
                  <a:pt x="670" y="245"/>
                  <a:pt x="739" y="245"/>
                </a:cubicBezTo>
                <a:cubicBezTo>
                  <a:pt x="809" y="245"/>
                  <a:pt x="864" y="300"/>
                  <a:pt x="864" y="370"/>
                </a:cubicBezTo>
                <a:cubicBezTo>
                  <a:pt x="864" y="439"/>
                  <a:pt x="809" y="495"/>
                  <a:pt x="739" y="495"/>
                </a:cubicBezTo>
                <a:cubicBezTo>
                  <a:pt x="670" y="495"/>
                  <a:pt x="614" y="439"/>
                  <a:pt x="614" y="370"/>
                </a:cubicBezTo>
                <a:close/>
                <a:moveTo>
                  <a:pt x="1134" y="109"/>
                </a:moveTo>
                <a:cubicBezTo>
                  <a:pt x="1134" y="0"/>
                  <a:pt x="1134" y="0"/>
                  <a:pt x="1134" y="0"/>
                </a:cubicBezTo>
                <a:cubicBezTo>
                  <a:pt x="1025" y="0"/>
                  <a:pt x="1025" y="0"/>
                  <a:pt x="1025" y="0"/>
                </a:cubicBezTo>
                <a:cubicBezTo>
                  <a:pt x="1025" y="109"/>
                  <a:pt x="1025" y="109"/>
                  <a:pt x="1025" y="109"/>
                </a:cubicBezTo>
                <a:cubicBezTo>
                  <a:pt x="1134" y="109"/>
                  <a:pt x="1134" y="109"/>
                  <a:pt x="1134" y="109"/>
                </a:cubicBezTo>
                <a:close/>
                <a:moveTo>
                  <a:pt x="1134" y="586"/>
                </a:moveTo>
                <a:cubicBezTo>
                  <a:pt x="1134" y="149"/>
                  <a:pt x="1134" y="149"/>
                  <a:pt x="1134" y="149"/>
                </a:cubicBezTo>
                <a:cubicBezTo>
                  <a:pt x="1025" y="149"/>
                  <a:pt x="1025" y="149"/>
                  <a:pt x="1025" y="149"/>
                </a:cubicBezTo>
                <a:cubicBezTo>
                  <a:pt x="1025" y="586"/>
                  <a:pt x="1025" y="586"/>
                  <a:pt x="1025" y="586"/>
                </a:cubicBezTo>
                <a:cubicBezTo>
                  <a:pt x="1134" y="586"/>
                  <a:pt x="1134" y="586"/>
                  <a:pt x="1134" y="586"/>
                </a:cubicBezTo>
                <a:close/>
                <a:moveTo>
                  <a:pt x="1534" y="0"/>
                </a:moveTo>
                <a:cubicBezTo>
                  <a:pt x="1534" y="184"/>
                  <a:pt x="1534" y="184"/>
                  <a:pt x="1534" y="184"/>
                </a:cubicBezTo>
                <a:cubicBezTo>
                  <a:pt x="1497" y="158"/>
                  <a:pt x="1452" y="144"/>
                  <a:pt x="1404" y="144"/>
                </a:cubicBezTo>
                <a:cubicBezTo>
                  <a:pt x="1280" y="144"/>
                  <a:pt x="1179" y="245"/>
                  <a:pt x="1179" y="370"/>
                </a:cubicBezTo>
                <a:cubicBezTo>
                  <a:pt x="1179" y="495"/>
                  <a:pt x="1280" y="596"/>
                  <a:pt x="1404" y="596"/>
                </a:cubicBezTo>
                <a:cubicBezTo>
                  <a:pt x="1452" y="596"/>
                  <a:pt x="1497" y="581"/>
                  <a:pt x="1534" y="555"/>
                </a:cubicBezTo>
                <a:cubicBezTo>
                  <a:pt x="1534" y="586"/>
                  <a:pt x="1534" y="586"/>
                  <a:pt x="1534" y="586"/>
                </a:cubicBezTo>
                <a:cubicBezTo>
                  <a:pt x="1642" y="586"/>
                  <a:pt x="1642" y="586"/>
                  <a:pt x="1642" y="586"/>
                </a:cubicBezTo>
                <a:cubicBezTo>
                  <a:pt x="1642" y="0"/>
                  <a:pt x="1642" y="0"/>
                  <a:pt x="1642" y="0"/>
                </a:cubicBezTo>
                <a:cubicBezTo>
                  <a:pt x="1534" y="0"/>
                  <a:pt x="1534" y="0"/>
                  <a:pt x="1534" y="0"/>
                </a:cubicBezTo>
                <a:close/>
                <a:moveTo>
                  <a:pt x="1285" y="370"/>
                </a:moveTo>
                <a:cubicBezTo>
                  <a:pt x="1285" y="300"/>
                  <a:pt x="1340" y="245"/>
                  <a:pt x="1410" y="245"/>
                </a:cubicBezTo>
                <a:cubicBezTo>
                  <a:pt x="1479" y="245"/>
                  <a:pt x="1535" y="300"/>
                  <a:pt x="1535" y="370"/>
                </a:cubicBezTo>
                <a:cubicBezTo>
                  <a:pt x="1535" y="439"/>
                  <a:pt x="1479" y="495"/>
                  <a:pt x="1410" y="495"/>
                </a:cubicBezTo>
                <a:cubicBezTo>
                  <a:pt x="1340" y="495"/>
                  <a:pt x="1285" y="439"/>
                  <a:pt x="1285" y="370"/>
                </a:cubicBezTo>
                <a:close/>
                <a:moveTo>
                  <a:pt x="2042" y="586"/>
                </a:moveTo>
                <a:cubicBezTo>
                  <a:pt x="2151" y="586"/>
                  <a:pt x="2151" y="586"/>
                  <a:pt x="2151" y="586"/>
                </a:cubicBezTo>
                <a:cubicBezTo>
                  <a:pt x="2151" y="149"/>
                  <a:pt x="2151" y="149"/>
                  <a:pt x="2151" y="149"/>
                </a:cubicBezTo>
                <a:cubicBezTo>
                  <a:pt x="2042" y="149"/>
                  <a:pt x="2042" y="149"/>
                  <a:pt x="2042" y="149"/>
                </a:cubicBezTo>
                <a:cubicBezTo>
                  <a:pt x="2042" y="184"/>
                  <a:pt x="2042" y="184"/>
                  <a:pt x="2042" y="184"/>
                </a:cubicBezTo>
                <a:cubicBezTo>
                  <a:pt x="2005" y="158"/>
                  <a:pt x="1961" y="144"/>
                  <a:pt x="1913" y="144"/>
                </a:cubicBezTo>
                <a:cubicBezTo>
                  <a:pt x="1788" y="144"/>
                  <a:pt x="1687" y="245"/>
                  <a:pt x="1687" y="370"/>
                </a:cubicBezTo>
                <a:cubicBezTo>
                  <a:pt x="1687" y="495"/>
                  <a:pt x="1788" y="596"/>
                  <a:pt x="1913" y="596"/>
                </a:cubicBezTo>
                <a:cubicBezTo>
                  <a:pt x="1961" y="596"/>
                  <a:pt x="2005" y="581"/>
                  <a:pt x="2042" y="555"/>
                </a:cubicBezTo>
                <a:cubicBezTo>
                  <a:pt x="2042" y="586"/>
                  <a:pt x="2042" y="586"/>
                  <a:pt x="2042" y="586"/>
                </a:cubicBezTo>
                <a:close/>
                <a:moveTo>
                  <a:pt x="1793" y="370"/>
                </a:moveTo>
                <a:cubicBezTo>
                  <a:pt x="1793" y="300"/>
                  <a:pt x="1849" y="245"/>
                  <a:pt x="1918" y="245"/>
                </a:cubicBezTo>
                <a:cubicBezTo>
                  <a:pt x="1987" y="245"/>
                  <a:pt x="2043" y="300"/>
                  <a:pt x="2043" y="370"/>
                </a:cubicBezTo>
                <a:cubicBezTo>
                  <a:pt x="2043" y="439"/>
                  <a:pt x="1987" y="495"/>
                  <a:pt x="1918" y="495"/>
                </a:cubicBezTo>
                <a:cubicBezTo>
                  <a:pt x="1849" y="495"/>
                  <a:pt x="1793" y="439"/>
                  <a:pt x="1793" y="370"/>
                </a:cubicBezTo>
                <a:close/>
                <a:moveTo>
                  <a:pt x="2191" y="444"/>
                </a:moveTo>
                <a:cubicBezTo>
                  <a:pt x="2195" y="532"/>
                  <a:pt x="2270" y="595"/>
                  <a:pt x="2396" y="595"/>
                </a:cubicBezTo>
                <a:cubicBezTo>
                  <a:pt x="2498" y="595"/>
                  <a:pt x="2583" y="550"/>
                  <a:pt x="2583" y="452"/>
                </a:cubicBezTo>
                <a:cubicBezTo>
                  <a:pt x="2583" y="383"/>
                  <a:pt x="2545" y="343"/>
                  <a:pt x="2456" y="326"/>
                </a:cubicBezTo>
                <a:cubicBezTo>
                  <a:pt x="2386" y="312"/>
                  <a:pt x="2386" y="312"/>
                  <a:pt x="2386" y="312"/>
                </a:cubicBezTo>
                <a:cubicBezTo>
                  <a:pt x="2342" y="304"/>
                  <a:pt x="2311" y="295"/>
                  <a:pt x="2311" y="269"/>
                </a:cubicBezTo>
                <a:cubicBezTo>
                  <a:pt x="2311" y="240"/>
                  <a:pt x="2341" y="227"/>
                  <a:pt x="2379" y="227"/>
                </a:cubicBezTo>
                <a:cubicBezTo>
                  <a:pt x="2433" y="227"/>
                  <a:pt x="2456" y="254"/>
                  <a:pt x="2457" y="287"/>
                </a:cubicBezTo>
                <a:cubicBezTo>
                  <a:pt x="2567" y="287"/>
                  <a:pt x="2567" y="287"/>
                  <a:pt x="2567" y="287"/>
                </a:cubicBezTo>
                <a:cubicBezTo>
                  <a:pt x="2561" y="201"/>
                  <a:pt x="2492" y="144"/>
                  <a:pt x="2382" y="144"/>
                </a:cubicBezTo>
                <a:cubicBezTo>
                  <a:pt x="2268" y="144"/>
                  <a:pt x="2201" y="206"/>
                  <a:pt x="2201" y="287"/>
                </a:cubicBezTo>
                <a:cubicBezTo>
                  <a:pt x="2201" y="387"/>
                  <a:pt x="2281" y="403"/>
                  <a:pt x="2350" y="416"/>
                </a:cubicBezTo>
                <a:cubicBezTo>
                  <a:pt x="2408" y="426"/>
                  <a:pt x="2408" y="426"/>
                  <a:pt x="2408" y="426"/>
                </a:cubicBezTo>
                <a:cubicBezTo>
                  <a:pt x="2449" y="434"/>
                  <a:pt x="2467" y="446"/>
                  <a:pt x="2467" y="470"/>
                </a:cubicBezTo>
                <a:cubicBezTo>
                  <a:pt x="2467" y="491"/>
                  <a:pt x="2446" y="513"/>
                  <a:pt x="2397" y="513"/>
                </a:cubicBezTo>
                <a:cubicBezTo>
                  <a:pt x="2326" y="513"/>
                  <a:pt x="2303" y="476"/>
                  <a:pt x="2302" y="444"/>
                </a:cubicBezTo>
                <a:cubicBezTo>
                  <a:pt x="2191" y="444"/>
                  <a:pt x="2191" y="444"/>
                  <a:pt x="2191" y="44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dirty="0">
              <a:latin typeface="adiText Light Bet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206785"/>
      </p:ext>
    </p:extLst>
  </p:cSld>
  <p:clrMapOvr>
    <a:masterClrMapping/>
  </p:clrMapOvr>
  <p:transition spd="med">
    <p:fad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F895096-7FFE-4930-8486-E0A1F3B4E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3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F895096-7FFE-4930-8486-E0A1F3B4E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6691F6B-EFA3-41BE-871C-35483B2F6C62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0" i="0" baseline="0" dirty="0">
              <a:solidFill>
                <a:schemeClr val="bg1"/>
              </a:solidFill>
              <a:latin typeface="adineue TEXT Black" panose="020B0A03020201060004" pitchFamily="34" charset="0"/>
              <a:ea typeface="+mj-ea"/>
              <a:cs typeface="+mj-cs"/>
              <a:sym typeface="adineue TEXT Black" panose="020B0A03020201060004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8640762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58967185"/>
      </p:ext>
    </p:extLst>
  </p:cSld>
  <p:clrMapOvr>
    <a:masterClrMapping/>
  </p:clrMapOvr>
  <p:transition spd="med"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/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19ED655-2971-401F-9FD3-29EB952CEA10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0" i="0" baseline="0" dirty="0">
              <a:solidFill>
                <a:schemeClr val="bg1"/>
              </a:solidFill>
              <a:latin typeface="adineue TEXT Black" panose="020B0A03020201060004" pitchFamily="34" charset="0"/>
              <a:ea typeface="+mj-ea"/>
              <a:cs typeface="+mj-cs"/>
              <a:sym typeface="adineue TEXT Black" panose="020B0A03020201060004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8640762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88A8358-3A55-4556-B086-617123AC684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4896683"/>
            <a:ext cx="8640762" cy="223837"/>
          </a:xfrm>
        </p:spPr>
        <p:txBody>
          <a:bodyPr anchor="b"/>
          <a:lstStyle>
            <a:lvl1pPr>
              <a:spcAft>
                <a:spcPts val="0"/>
              </a:spcAft>
              <a:defRPr sz="700"/>
            </a:lvl1pPr>
          </a:lstStyle>
          <a:p>
            <a:pPr lvl="0"/>
            <a:r>
              <a:rPr lang="en-US" dirty="0"/>
              <a:t>Footnote</a:t>
            </a:r>
          </a:p>
        </p:txBody>
      </p:sp>
    </p:spTree>
    <p:extLst>
      <p:ext uri="{BB962C8B-B14F-4D97-AF65-F5344CB8AC3E}">
        <p14:creationId xmlns:p14="http://schemas.microsoft.com/office/powerpoint/2010/main" val="867342436"/>
      </p:ext>
    </p:extLst>
  </p:cSld>
  <p:clrMapOvr>
    <a:masterClrMapping/>
  </p:clrMapOvr>
  <p:transition spd="med"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D2B4175-4514-4154-ADC8-6F6BA21FF3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D2B4175-4514-4154-ADC8-6F6BA21FF3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CBE18D5-9EEB-4794-B06F-8D7CBBC9614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solidFill>
                <a:schemeClr val="bg1"/>
              </a:solidFill>
              <a:latin typeface="adineue TEXT Black" panose="020B0A03020201060004" pitchFamily="34" charset="0"/>
              <a:ea typeface="+mj-ea"/>
              <a:cs typeface="+mj-cs"/>
              <a:sym typeface="adineue TEXT Black" panose="020B0A03020201060004" pitchFamily="34" charset="0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3911467" y="396"/>
            <a:ext cx="5303971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9" y="288395"/>
            <a:ext cx="3343948" cy="4608288"/>
          </a:xfrm>
        </p:spPr>
        <p:txBody>
          <a:bodyPr anchor="ctr"/>
          <a:lstStyle>
            <a:lvl1pPr algn="ctr">
              <a:lnSpc>
                <a:spcPct val="80000"/>
              </a:lnSpc>
              <a:defRPr sz="3200" b="0" i="0">
                <a:solidFill>
                  <a:schemeClr val="tx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83681851"/>
      </p:ext>
    </p:extLst>
  </p:cSld>
  <p:clrMapOvr>
    <a:masterClrMapping/>
  </p:clrMapOvr>
  <p:transition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2457983"/>
      </p:ext>
    </p:extLst>
  </p:cSld>
  <p:clrMapOvr>
    <a:masterClrMapping/>
  </p:clrMapOvr>
  <p:transition spd="med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4175093"/>
      </p:ext>
    </p:extLst>
  </p:cSld>
  <p:clrMapOvr>
    <a:masterClrMapping/>
  </p:clrMapOvr>
  <p:transition spd="med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9379685"/>
      </p:ext>
    </p:extLst>
  </p:cSld>
  <p:clrMapOvr>
    <a:masterClrMapping/>
  </p:clrMapOvr>
  <p:transition spd="med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5565967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0213871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3932026"/>
      </p:ext>
    </p:extLst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1422289"/>
      </p:ext>
    </p:extLst>
  </p:cSld>
  <p:clrMapOvr>
    <a:masterClrMapping/>
  </p:clrMapOvr>
  <p:transition spd="med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9720700"/>
      </p:ext>
    </p:extLst>
  </p:cSld>
  <p:clrMapOvr>
    <a:masterClrMapping/>
  </p:clrMapOvr>
  <p:transition spd="med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7951457"/>
      </p:ext>
    </p:extLst>
  </p:cSld>
  <p:clrMapOvr>
    <a:masterClrMapping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1657140"/>
      </p:ext>
    </p:extLst>
  </p:cSld>
  <p:clrMapOvr>
    <a:masterClrMapping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135209"/>
      </p:ext>
    </p:extLst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2957391"/>
      </p:ext>
    </p:extLst>
  </p:cSld>
  <p:clrMapOvr>
    <a:masterClrMapping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3498680"/>
      </p:ext>
    </p:extLst>
  </p:cSld>
  <p:clrMapOvr>
    <a:masterClrMapping/>
  </p:clrMapOvr>
  <p:transition spd="med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2318564"/>
      </p:ext>
    </p:extLst>
  </p:cSld>
  <p:clrMapOvr>
    <a:masterClrMapping/>
  </p:clrMapOvr>
  <p:transition spd="med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69505418"/>
      </p:ext>
    </p:extLst>
  </p:cSld>
  <p:clrMapOvr>
    <a:masterClrMapping/>
  </p:clrMapOvr>
  <p:transition spd="med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62656902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5100839"/>
      </p:ext>
    </p:extLst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891441"/>
      </p:ext>
    </p:extLst>
  </p:cSld>
  <p:clrMapOvr>
    <a:masterClrMapping/>
  </p:clrMapOvr>
  <p:transition spd="med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685521"/>
      </p:ext>
    </p:extLst>
  </p:cSld>
  <p:clrMapOvr>
    <a:masterClrMapping/>
  </p:clrMapOvr>
  <p:transition spd="med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9245906"/>
      </p:ext>
    </p:extLst>
  </p:cSld>
  <p:clrMapOvr>
    <a:masterClrMapping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1257924"/>
      </p:ext>
    </p:extLst>
  </p:cSld>
  <p:clrMapOvr>
    <a:masterClrMapping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8016953"/>
      </p:ext>
    </p:extLst>
  </p:cSld>
  <p:clrMapOvr>
    <a:masterClrMapping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07518987"/>
      </p:ext>
    </p:extLst>
  </p:cSld>
  <p:clrMapOvr>
    <a:masterClrMapping/>
  </p:clrMapOvr>
  <p:transition spd="med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8362453"/>
      </p:ext>
    </p:extLst>
  </p:cSld>
  <p:clrMapOvr>
    <a:masterClrMapping/>
  </p:clrMapOvr>
  <p:transition spd="med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896346"/>
      </p:ext>
    </p:extLst>
  </p:cSld>
  <p:clrMapOvr>
    <a:masterClrMapping/>
  </p:clrMapOvr>
  <p:transition spd="med"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349739"/>
      </p:ext>
    </p:extLst>
  </p:cSld>
  <p:clrMapOvr>
    <a:masterClrMapping/>
  </p:clrMapOvr>
  <p:transition spd="med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4202401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5886964"/>
      </p:ext>
    </p:extLst>
  </p:cSld>
  <p:clrMapOvr>
    <a:masterClrMapping/>
  </p:clrMapOvr>
  <p:transition spd="med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3946851"/>
      </p:ext>
    </p:extLst>
  </p:cSld>
  <p:clrMapOvr>
    <a:masterClrMapping/>
  </p:clrMapOvr>
  <p:transition spd="med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9841320"/>
      </p:ext>
    </p:extLst>
  </p:cSld>
  <p:clrMapOvr>
    <a:masterClrMapping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0737647"/>
      </p:ext>
    </p:extLst>
  </p:cSld>
  <p:clrMapOvr>
    <a:masterClrMapping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5452625"/>
      </p:ext>
    </p:extLst>
  </p:cSld>
  <p:clrMapOvr>
    <a:masterClrMapping/>
  </p:clrMapOvr>
  <p:transition spd="med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3144028"/>
      </p:ext>
    </p:extLst>
  </p:cSld>
  <p:clrMapOvr>
    <a:masterClrMapping/>
  </p:clrMapOvr>
  <p:transition spd="med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442671"/>
      </p:ext>
    </p:extLst>
  </p:cSld>
  <p:clrMapOvr>
    <a:masterClrMapping/>
  </p:clrMapOvr>
  <p:transition spd="med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535235441"/>
      </p:ext>
    </p:extLst>
  </p:cSld>
  <p:clrMapOvr>
    <a:masterClrMapping/>
  </p:clrMapOvr>
  <p:transition spd="med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14421818"/>
      </p:ext>
    </p:extLst>
  </p:cSld>
  <p:clrMapOvr>
    <a:masterClrMapping/>
  </p:clrMapOvr>
  <p:transition spd="med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0666550"/>
      </p:ext>
    </p:extLst>
  </p:cSld>
  <p:clrMapOvr>
    <a:masterClrMapping/>
  </p:clrMapOvr>
  <p:transition spd="med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4828615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4513968"/>
      </p:ext>
    </p:extLst>
  </p:cSld>
  <p:clrMapOvr>
    <a:masterClrMapping/>
  </p:clrMapOvr>
  <p:transition spd="med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3173825"/>
      </p:ext>
    </p:extLst>
  </p:cSld>
  <p:clrMapOvr>
    <a:masterClrMapping/>
  </p:clrMapOvr>
  <p:transition spd="med"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1047631"/>
      </p:ext>
    </p:extLst>
  </p:cSld>
  <p:clrMapOvr>
    <a:masterClrMapping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6158852"/>
      </p:ext>
    </p:extLst>
  </p:cSld>
  <p:clrMapOvr>
    <a:masterClrMapping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8051894"/>
      </p:ext>
    </p:extLst>
  </p:cSld>
  <p:clrMapOvr>
    <a:masterClrMapping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9567609"/>
      </p:ext>
    </p:extLst>
  </p:cSld>
  <p:clrMapOvr>
    <a:masterClrMapping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6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1440391"/>
            <a:ext cx="5759449" cy="863600"/>
          </a:xfrm>
        </p:spPr>
        <p:txBody>
          <a:bodyPr anchor="b"/>
          <a:lstStyle>
            <a:lvl1pPr algn="ctr">
              <a:lnSpc>
                <a:spcPct val="70000"/>
              </a:lnSpc>
              <a:defRPr sz="36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03728" y="2592387"/>
            <a:ext cx="4606924" cy="1728788"/>
          </a:xfrm>
        </p:spPr>
        <p:txBody>
          <a:bodyPr anchor="t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FOOTER / PRESENTATION NA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98283"/>
      </p:ext>
    </p:extLst>
  </p:cSld>
  <p:clrMapOvr>
    <a:masterClrMapping/>
  </p:clrMapOvr>
  <p:transition spd="med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925"/>
            <a:ext cx="4032250" cy="57467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7" y="863599"/>
            <a:ext cx="3167063" cy="3457575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>
              <a:defRPr/>
            </a:pPr>
            <a:fld id="{D8938AA5-F1F6-401D-A78E-4C29C9988A7C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2085266"/>
      </p:ext>
    </p:extLst>
  </p:cSld>
  <p:clrMapOvr>
    <a:masterClrMapping/>
  </p:clrMapOvr>
  <p:transition spd="med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4607719" cy="5184377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339" y="2880386"/>
            <a:ext cx="4032250" cy="1151466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9" y="396"/>
            <a:ext cx="4607984" cy="518437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183188" y="864393"/>
            <a:ext cx="2592387" cy="288052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5383186-3EBF-4421-9FBC-F909D017799D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5950653"/>
      </p:ext>
    </p:extLst>
  </p:cSld>
  <p:clrMapOvr>
    <a:masterClrMapping/>
  </p:clrMapOvr>
  <p:transition spd="med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9215438" cy="518477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74675" y="288925"/>
            <a:ext cx="8064500" cy="574675"/>
          </a:xfr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74675" y="1152202"/>
            <a:ext cx="4033044" cy="3168973"/>
          </a:xfrm>
          <a:solidFill>
            <a:schemeClr val="bg2"/>
          </a:solidFill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4607718" y="1152202"/>
            <a:ext cx="4032519" cy="316897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defRPr/>
            </a:pPr>
            <a:fld id="{FE0A48A4-6016-4A16-8175-466DAA60A81C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9242083"/>
      </p:ext>
    </p:extLst>
  </p:cSld>
  <p:clrMapOvr>
    <a:masterClrMapping/>
  </p:clrMapOvr>
  <p:transition spd="med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 userDrawn="1"/>
        </p:nvGrpSpPr>
        <p:grpSpPr bwMode="auto">
          <a:xfrm>
            <a:off x="71997" y="916654"/>
            <a:ext cx="9069846" cy="3357865"/>
            <a:chOff x="9468829" y="902018"/>
            <a:chExt cx="1008112" cy="3306445"/>
          </a:xfrm>
        </p:grpSpPr>
        <p:cxnSp>
          <p:nvCxnSpPr>
            <p:cNvPr id="3" name="Straight Connector 42"/>
            <p:cNvCxnSpPr/>
            <p:nvPr/>
          </p:nvCxnSpPr>
          <p:spPr bwMode="gray">
            <a:xfrm>
              <a:off x="9468829" y="338145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" name="Straight Connector 43"/>
            <p:cNvCxnSpPr/>
            <p:nvPr/>
          </p:nvCxnSpPr>
          <p:spPr bwMode="gray">
            <a:xfrm>
              <a:off x="9468829" y="255287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4"/>
            <p:cNvCxnSpPr/>
            <p:nvPr/>
          </p:nvCxnSpPr>
          <p:spPr bwMode="gray">
            <a:xfrm>
              <a:off x="9468829" y="4208463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6"/>
            <p:cNvCxnSpPr/>
            <p:nvPr/>
          </p:nvCxnSpPr>
          <p:spPr bwMode="gray">
            <a:xfrm>
              <a:off x="9468829" y="1724297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Connector 57"/>
            <p:cNvCxnSpPr/>
            <p:nvPr/>
          </p:nvCxnSpPr>
          <p:spPr bwMode="gray">
            <a:xfrm>
              <a:off x="9468829" y="902018"/>
              <a:ext cx="1008112" cy="0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" name="Group 1"/>
          <p:cNvGrpSpPr>
            <a:grpSpLocks/>
          </p:cNvGrpSpPr>
          <p:nvPr userDrawn="1"/>
        </p:nvGrpSpPr>
        <p:grpSpPr bwMode="auto">
          <a:xfrm>
            <a:off x="0" y="0"/>
            <a:ext cx="9215438" cy="5184775"/>
            <a:chOff x="0" y="0"/>
            <a:chExt cx="9072564" cy="5105402"/>
          </a:xfrm>
        </p:grpSpPr>
        <p:cxnSp>
          <p:nvCxnSpPr>
            <p:cNvPr id="9" name="Straight Connector 64"/>
            <p:cNvCxnSpPr/>
            <p:nvPr userDrawn="1"/>
          </p:nvCxnSpPr>
          <p:spPr bwMode="gray">
            <a:xfrm>
              <a:off x="1512360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65"/>
            <p:cNvCxnSpPr/>
            <p:nvPr userDrawn="1"/>
          </p:nvCxnSpPr>
          <p:spPr bwMode="gray">
            <a:xfrm>
              <a:off x="302472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66"/>
            <p:cNvCxnSpPr/>
            <p:nvPr userDrawn="1"/>
          </p:nvCxnSpPr>
          <p:spPr bwMode="gray">
            <a:xfrm>
              <a:off x="604784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67"/>
            <p:cNvCxnSpPr/>
            <p:nvPr userDrawn="1"/>
          </p:nvCxnSpPr>
          <p:spPr bwMode="gray">
            <a:xfrm>
              <a:off x="7560204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71"/>
            <p:cNvCxnSpPr/>
            <p:nvPr userDrawn="1"/>
          </p:nvCxnSpPr>
          <p:spPr bwMode="gray">
            <a:xfrm>
              <a:off x="4537082" y="0"/>
              <a:ext cx="0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45"/>
            <p:cNvCxnSpPr/>
            <p:nvPr userDrawn="1"/>
          </p:nvCxnSpPr>
          <p:spPr bwMode="gray">
            <a:xfrm flipH="1">
              <a:off x="0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46"/>
            <p:cNvCxnSpPr/>
            <p:nvPr userDrawn="1"/>
          </p:nvCxnSpPr>
          <p:spPr bwMode="gray">
            <a:xfrm flipH="1"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47"/>
            <p:cNvCxnSpPr/>
            <p:nvPr userDrawn="1"/>
          </p:nvCxnSpPr>
          <p:spPr bwMode="gray">
            <a:xfrm flipH="1"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48"/>
            <p:cNvCxnSpPr/>
            <p:nvPr userDrawn="1"/>
          </p:nvCxnSpPr>
          <p:spPr bwMode="gray">
            <a:xfrm>
              <a:off x="0" y="0"/>
              <a:ext cx="45370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49"/>
            <p:cNvCxnSpPr/>
            <p:nvPr userDrawn="1"/>
          </p:nvCxnSpPr>
          <p:spPr bwMode="gray">
            <a:xfrm>
              <a:off x="0" y="0"/>
              <a:ext cx="9072564" cy="510540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50"/>
            <p:cNvCxnSpPr/>
            <p:nvPr userDrawn="1"/>
          </p:nvCxnSpPr>
          <p:spPr bwMode="gray">
            <a:xfrm>
              <a:off x="4537082" y="0"/>
              <a:ext cx="4535482" cy="5105402"/>
            </a:xfrm>
            <a:prstGeom prst="line">
              <a:avLst/>
            </a:prstGeom>
            <a:ln w="12700" cap="rnd" cmpd="sng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52"/>
            <p:cNvCxnSpPr/>
            <p:nvPr userDrawn="1"/>
          </p:nvCxnSpPr>
          <p:spPr bwMode="gray">
            <a:xfrm flipV="1">
              <a:off x="0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53"/>
            <p:cNvCxnSpPr/>
            <p:nvPr userDrawn="1"/>
          </p:nvCxnSpPr>
          <p:spPr bwMode="gray">
            <a:xfrm>
              <a:off x="0" y="2553510"/>
              <a:ext cx="4537082" cy="2551892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54"/>
            <p:cNvCxnSpPr/>
            <p:nvPr userDrawn="1"/>
          </p:nvCxnSpPr>
          <p:spPr bwMode="gray">
            <a:xfrm flipH="1">
              <a:off x="4537082" y="2547038"/>
              <a:ext cx="4535482" cy="2558364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1"/>
            <p:cNvCxnSpPr/>
            <p:nvPr userDrawn="1"/>
          </p:nvCxnSpPr>
          <p:spPr bwMode="gray">
            <a:xfrm flipH="1" flipV="1">
              <a:off x="4537082" y="0"/>
              <a:ext cx="4535482" cy="2547038"/>
            </a:xfrm>
            <a:prstGeom prst="line">
              <a:avLst/>
            </a:prstGeom>
            <a:ln w="12700" cap="rnd" cmpd="sng">
              <a:solidFill>
                <a:schemeClr val="accent1"/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Oval 72"/>
          <p:cNvSpPr/>
          <p:nvPr userDrawn="1"/>
        </p:nvSpPr>
        <p:spPr bwMode="gray">
          <a:xfrm>
            <a:off x="4527724" y="2511600"/>
            <a:ext cx="159990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5" name="Oval 73"/>
          <p:cNvSpPr/>
          <p:nvPr userDrawn="1"/>
        </p:nvSpPr>
        <p:spPr bwMode="gray">
          <a:xfrm>
            <a:off x="6793186" y="2511600"/>
            <a:ext cx="161591" cy="161575"/>
          </a:xfrm>
          <a:prstGeom prst="ellipse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6" name="Oval 78"/>
          <p:cNvSpPr/>
          <p:nvPr userDrawn="1"/>
        </p:nvSpPr>
        <p:spPr bwMode="gray">
          <a:xfrm>
            <a:off x="7549940" y="3353066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7" name="Oval 38"/>
          <p:cNvSpPr/>
          <p:nvPr userDrawn="1"/>
        </p:nvSpPr>
        <p:spPr bwMode="gray">
          <a:xfrm>
            <a:off x="6793186" y="3770601"/>
            <a:ext cx="161591" cy="16157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8" name="Oval 63"/>
          <p:cNvSpPr/>
          <p:nvPr userDrawn="1"/>
        </p:nvSpPr>
        <p:spPr bwMode="gray">
          <a:xfrm>
            <a:off x="6028432" y="3353066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29" name="Oval 80"/>
          <p:cNvSpPr/>
          <p:nvPr userDrawn="1"/>
        </p:nvSpPr>
        <p:spPr bwMode="gray">
          <a:xfrm>
            <a:off x="7549940" y="1670134"/>
            <a:ext cx="1599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0" name="Oval 82"/>
          <p:cNvSpPr/>
          <p:nvPr userDrawn="1"/>
        </p:nvSpPr>
        <p:spPr bwMode="gray">
          <a:xfrm>
            <a:off x="6793186" y="1247801"/>
            <a:ext cx="161591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  <p:sp>
        <p:nvSpPr>
          <p:cNvPr id="31" name="Oval 83"/>
          <p:cNvSpPr/>
          <p:nvPr userDrawn="1"/>
        </p:nvSpPr>
        <p:spPr bwMode="gray">
          <a:xfrm>
            <a:off x="6033233" y="1670134"/>
            <a:ext cx="161590" cy="16157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2556" tIns="72556" rIns="72556" bIns="72556" anchor="ctr"/>
          <a:lstStyle/>
          <a:p>
            <a:pPr algn="ctr" defTabSz="9214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22" b="0" i="0" cap="all" dirty="0">
              <a:latin typeface="adineue PRO TT Black" panose="020B0A03020201060004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6642246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9529075"/>
      </p:ext>
    </p:extLst>
  </p:cSld>
  <p:clrMapOvr>
    <a:masterClrMapping/>
  </p:clrMapOvr>
  <p:transition spd="med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EB7E47-58F9-4E01-8782-1ED32E0F0080}"/>
              </a:ext>
            </a:extLst>
          </p:cNvPr>
          <p:cNvSpPr/>
          <p:nvPr userDrawn="1"/>
        </p:nvSpPr>
        <p:spPr bwMode="gray">
          <a:xfrm>
            <a:off x="0" y="0"/>
            <a:ext cx="1535906" cy="5184775"/>
          </a:xfrm>
          <a:prstGeom prst="rect">
            <a:avLst/>
          </a:prstGeom>
          <a:solidFill>
            <a:schemeClr val="accent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061792-4EBB-449C-B551-E8C0281CA55D}"/>
              </a:ext>
            </a:extLst>
          </p:cNvPr>
          <p:cNvSpPr/>
          <p:nvPr userDrawn="1"/>
        </p:nvSpPr>
        <p:spPr bwMode="gray">
          <a:xfrm>
            <a:off x="1535906" y="0"/>
            <a:ext cx="1535906" cy="5184775"/>
          </a:xfrm>
          <a:prstGeom prst="rect">
            <a:avLst/>
          </a:prstGeom>
          <a:solidFill>
            <a:schemeClr val="accent2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D66342-C4E5-4E6A-B602-C83DAAC0C118}"/>
              </a:ext>
            </a:extLst>
          </p:cNvPr>
          <p:cNvSpPr/>
          <p:nvPr userDrawn="1"/>
        </p:nvSpPr>
        <p:spPr bwMode="gray">
          <a:xfrm>
            <a:off x="3071813" y="0"/>
            <a:ext cx="1535906" cy="5184775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15D0B-0313-4703-8E3E-0A01F24ADF77}"/>
              </a:ext>
            </a:extLst>
          </p:cNvPr>
          <p:cNvSpPr/>
          <p:nvPr userDrawn="1"/>
        </p:nvSpPr>
        <p:spPr bwMode="gray">
          <a:xfrm>
            <a:off x="4607719" y="0"/>
            <a:ext cx="1535906" cy="5184775"/>
          </a:xfrm>
          <a:prstGeom prst="rect">
            <a:avLst/>
          </a:prstGeom>
          <a:solidFill>
            <a:schemeClr val="accent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EA44E1-E041-4262-8E28-C4320552C8BF}"/>
              </a:ext>
            </a:extLst>
          </p:cNvPr>
          <p:cNvSpPr/>
          <p:nvPr userDrawn="1"/>
        </p:nvSpPr>
        <p:spPr bwMode="gray">
          <a:xfrm>
            <a:off x="6143625" y="0"/>
            <a:ext cx="1535906" cy="5184775"/>
          </a:xfrm>
          <a:prstGeom prst="rect">
            <a:avLst/>
          </a:prstGeom>
          <a:solidFill>
            <a:schemeClr val="accent5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55E2C-855C-4365-895D-7CC01F8F7921}"/>
              </a:ext>
            </a:extLst>
          </p:cNvPr>
          <p:cNvSpPr/>
          <p:nvPr userDrawn="1"/>
        </p:nvSpPr>
        <p:spPr bwMode="gray">
          <a:xfrm>
            <a:off x="7679532" y="0"/>
            <a:ext cx="1535906" cy="5184775"/>
          </a:xfrm>
          <a:prstGeom prst="rect">
            <a:avLst/>
          </a:prstGeom>
          <a:solidFill>
            <a:schemeClr val="accent6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3378300"/>
      </p:ext>
    </p:extLst>
  </p:cSld>
  <p:clrMapOvr>
    <a:masterClrMapping/>
  </p:clrMapOvr>
  <p:transition spd="med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pa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tx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tx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8390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tx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5246767"/>
      </p:ext>
    </p:extLst>
  </p:cSld>
  <p:clrMapOvr>
    <a:masterClrMapping/>
  </p:clrMapOvr>
  <p:transition spd="med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adge of 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566738"/>
      </p:ext>
    </p:extLst>
  </p:cSld>
  <p:clrMapOvr>
    <a:masterClrMapping/>
  </p:clrMapOvr>
  <p:transition spd="med"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igi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1E82C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15120096"/>
      </p:ext>
    </p:extLst>
  </p:cSld>
  <p:clrMapOvr>
    <a:masterClrMapping/>
  </p:clrMapOvr>
  <p:transition spd="med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Y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rgbClr val="F39323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27777097"/>
      </p:ext>
    </p:extLst>
  </p:cSld>
  <p:clrMapOvr>
    <a:masterClrMapping/>
  </p:clrMapOvr>
  <p:transition spd="med"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t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" y="0"/>
            <a:ext cx="921543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78733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7897"/>
            <a:ext cx="4895850" cy="1848362"/>
          </a:xfrm>
        </p:spPr>
        <p:txBody>
          <a:bodyPr tIns="0" anchor="b"/>
          <a:lstStyle>
            <a:lvl1pPr>
              <a:lnSpc>
                <a:spcPct val="70000"/>
              </a:lnSpc>
              <a:defRPr sz="4800" b="0" i="0">
                <a:solidFill>
                  <a:schemeClr val="bg1"/>
                </a:solidFill>
                <a:latin typeface="adineue PRO Black" pitchFamily="34" charset="0"/>
              </a:defRPr>
            </a:lvl1pPr>
          </a:lstStyle>
          <a:p>
            <a:r>
              <a:rPr lang="en-US" noProof="0" dirty="0"/>
              <a:t>Global Templa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8F22B520-6C0C-47AB-B781-36C1AEF929FA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gray">
          <a:xfrm>
            <a:off x="863601" y="3456613"/>
            <a:ext cx="4895850" cy="576262"/>
          </a:xfrm>
        </p:spPr>
        <p:txBody>
          <a:bodyPr tIns="72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i="0" cap="all" spc="0" baseline="0">
                <a:solidFill>
                  <a:schemeClr val="bg1"/>
                </a:solidFill>
                <a:latin typeface="adineue TEXT Light" panose="020B0303020201060004" pitchFamily="34" charset="0"/>
                <a:cs typeface="AdihausDIN" panose="020B0504020101020102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dihausDIN" panose="020B0604020202020204" pitchFamily="34" charset="0"/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1400" b="0" cap="all" baseline="0">
                <a:solidFill>
                  <a:schemeClr val="bg1"/>
                </a:solidFill>
                <a:latin typeface="adiText Light Beta" pitchFamily="34" charset="0"/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97536164"/>
      </p:ext>
    </p:extLst>
  </p:cSld>
  <p:clrMapOvr>
    <a:masterClrMapping/>
  </p:clrMapOvr>
  <p:transition spd="med"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215438" cy="5184775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63238" y="864165"/>
            <a:ext cx="4032611" cy="864623"/>
          </a:xfrm>
        </p:spPr>
        <p:txBody>
          <a:bodyPr lIns="0" anchor="t"/>
          <a:lstStyle>
            <a:lvl1pPr algn="l">
              <a:lnSpc>
                <a:spcPct val="100000"/>
              </a:lnSpc>
              <a:defRPr sz="4000" b="0" i="0" cap="all" spc="0" baseline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016314" y="2016313"/>
            <a:ext cx="4895701" cy="2592200"/>
          </a:xfrm>
        </p:spPr>
        <p:txBody>
          <a:bodyPr anchor="t" anchorCtr="0"/>
          <a:lstStyle>
            <a:lvl1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None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2pPr>
            <a:lvl3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3pPr>
            <a:lvl4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+mj-lt"/>
              <a:buAutoNum type="arabicPeriod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4pPr>
            <a:lvl5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defRPr sz="1200" b="0" i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5pPr>
            <a:lvl6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6pPr>
            <a:lvl7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7pPr>
            <a:lvl8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8pPr>
            <a:lvl9pPr marL="288000" indent="-288000"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Font typeface="+mj-lt"/>
              <a:buAutoNum type="arabicPeriod"/>
              <a:defRPr sz="1200" b="0" cap="all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9pPr>
          </a:lstStyle>
          <a:p>
            <a:pPr lvl="0"/>
            <a:r>
              <a:rPr lang="en-US" noProof="0" dirty="0"/>
              <a:t>ADD AN AGENDA POINT HERE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266201"/>
      </p:ext>
    </p:extLst>
  </p:cSld>
  <p:clrMapOvr>
    <a:masterClrMapping/>
  </p:clrMapOvr>
  <p:transition spd="med"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/ Foc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4675" y="576264"/>
            <a:ext cx="8064500" cy="4032250"/>
          </a:xfrm>
          <a:custGeom>
            <a:avLst/>
            <a:gdLst/>
            <a:ahLst/>
            <a:cxnLst/>
            <a:rect l="l" t="t" r="r" b="b"/>
            <a:pathLst>
              <a:path w="8064500" h="4032119">
                <a:moveTo>
                  <a:pt x="0" y="0"/>
                </a:moveTo>
                <a:lnTo>
                  <a:pt x="8064500" y="0"/>
                </a:lnTo>
                <a:lnTo>
                  <a:pt x="8064500" y="4032119"/>
                </a:lnTo>
                <a:lnTo>
                  <a:pt x="0" y="40321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439862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460721"/>
      </p:ext>
    </p:extLst>
  </p:cSld>
  <p:clrMapOvr>
    <a:masterClrMapping/>
  </p:clrMapOvr>
  <p:transition spd="med"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4798437"/>
      </p:ext>
    </p:extLst>
  </p:cSld>
  <p:clrMapOvr>
    <a:masterClrMapping/>
  </p:clrMapOvr>
  <p:transition spd="med"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585759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eging /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105216" y="105206"/>
            <a:ext cx="9005007" cy="4974364"/>
          </a:xfrm>
          <a:custGeom>
            <a:avLst/>
            <a:gdLst/>
            <a:ahLst/>
            <a:cxnLst/>
            <a:rect l="l" t="t" r="r" b="b"/>
            <a:pathLst>
              <a:path w="8935200" h="4936288">
                <a:moveTo>
                  <a:pt x="0" y="0"/>
                </a:moveTo>
                <a:lnTo>
                  <a:pt x="8935200" y="0"/>
                </a:lnTo>
                <a:lnTo>
                  <a:pt x="8935200" y="4936288"/>
                </a:lnTo>
                <a:lnTo>
                  <a:pt x="0" y="493628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1727200" y="2305050"/>
            <a:ext cx="5759449" cy="1701800"/>
          </a:xfr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727729" y="1728789"/>
            <a:ext cx="5758921" cy="287336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90000"/>
              </a:lnSpc>
              <a:spcAft>
                <a:spcPts val="600"/>
              </a:spcAft>
              <a:buNone/>
              <a:defRPr sz="1200" b="0" cap="all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1200" b="0" cap="all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5"/>
          </p:nvPr>
        </p:nvSpPr>
        <p:spPr>
          <a:xfrm>
            <a:off x="7776126" y="5255578"/>
            <a:ext cx="864112" cy="287282"/>
          </a:xfrm>
        </p:spPr>
        <p:txBody>
          <a:bodyPr/>
          <a:lstStyle/>
          <a:p>
            <a:pPr>
              <a:defRPr/>
            </a:pPr>
            <a:fld id="{1F0AED66-3F9A-415C-984B-2EE3E75857E2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4032250" y="5255578"/>
            <a:ext cx="3743325" cy="287282"/>
          </a:xfrm>
        </p:spPr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17"/>
          </p:nvPr>
        </p:nvSpPr>
        <p:spPr>
          <a:xfrm>
            <a:off x="8639176" y="5254823"/>
            <a:ext cx="576262" cy="288091"/>
          </a:xfrm>
        </p:spPr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48371"/>
      </p:ext>
    </p:extLst>
  </p:cSld>
  <p:clrMapOvr>
    <a:masterClrMapping/>
  </p:clrMapOvr>
  <p:transition spd="med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fld id="{6219B26A-72D6-46AB-957C-CB3555B627B8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4675" y="1152525"/>
            <a:ext cx="7488238" cy="34559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27091038"/>
      </p:ext>
    </p:extLst>
  </p:cSld>
  <p:clrMapOvr>
    <a:masterClrMapping/>
  </p:clrMapOvr>
  <p:transition spd="med"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759451" y="0"/>
            <a:ext cx="3455988" cy="5184775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4895983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4" y="1152524"/>
            <a:ext cx="4608513" cy="345612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B0133289-A846-47F9-A094-30208F0EF75C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966564"/>
      </p:ext>
    </p:extLst>
  </p:cSld>
  <p:clrMapOvr>
    <a:masterClrMapping/>
  </p:clrMapOvr>
  <p:transition spd="med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32250" y="1"/>
            <a:ext cx="51831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5" y="288926"/>
            <a:ext cx="3455988" cy="575468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4675" y="1152525"/>
            <a:ext cx="3168650" cy="345598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5A855478-103E-4A15-A06C-B6A6DBC795DA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8618388"/>
      </p:ext>
    </p:extLst>
  </p:cSld>
  <p:clrMapOvr>
    <a:masterClrMapping/>
  </p:clrMapOvr>
  <p:transition spd="med"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895850" y="1"/>
            <a:ext cx="431958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319719" y="864393"/>
            <a:ext cx="3743193" cy="34567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3168650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defRPr/>
            </a:pPr>
            <a:fld id="{A1CF80AE-C039-4C0F-B7F7-744615D460C6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4831399"/>
      </p:ext>
    </p:extLst>
  </p:cSld>
  <p:clrMapOvr>
    <a:masterClrMapping/>
  </p:clrMapOvr>
  <p:transition spd="med"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4319985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183188" y="397"/>
            <a:ext cx="4032249" cy="259199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4033044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183717" y="2592389"/>
            <a:ext cx="4031721" cy="259199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defRPr/>
            </a:pPr>
            <a:fld id="{F058C083-5DF4-47A4-9A6A-7E7327E1521B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061877"/>
      </p:ext>
    </p:extLst>
  </p:cSld>
  <p:clrMapOvr>
    <a:masterClrMapping/>
  </p:clrMapOvr>
  <p:transition spd="med"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396"/>
            <a:ext cx="2881311" cy="259265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397"/>
            <a:ext cx="2303726" cy="25919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3455988" cy="2591990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A3146551-EF0D-4D56-AF87-5F1A8BE5BBC5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5962744"/>
      </p:ext>
    </p:extLst>
  </p:cSld>
  <p:clrMapOvr>
    <a:masterClrMapping/>
  </p:clrMapOvr>
  <p:transition spd="med"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5183188" y="1"/>
            <a:ext cx="4032250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2" y="576263"/>
            <a:ext cx="1439994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590535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734" y="288395"/>
            <a:ext cx="3167989" cy="575205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74675" y="1152525"/>
            <a:ext cx="2881313" cy="316865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defRPr/>
            </a:pPr>
            <a:fld id="{1FDE4756-E33A-4C1F-BC3E-1C3AA533B332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5225404"/>
      </p:ext>
    </p:extLst>
  </p:cSld>
  <p:clrMapOvr>
    <a:masterClrMapping/>
  </p:clrMapOvr>
  <p:transition spd="med"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1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7E8BCD-FC54-4196-80B4-2016F74DAB00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623050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211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9285856"/>
      </p:ext>
    </p:extLst>
  </p:cSld>
  <p:clrMapOvr>
    <a:masterClrMapping/>
  </p:clrMapOvr>
  <p:transition spd="med"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239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70E090-8CB9-4EE9-B982-AFDEE7ABCC6C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2014175" y="2418972"/>
            <a:ext cx="576263" cy="0"/>
          </a:xfrm>
          <a:prstGeom prst="line">
            <a:avLst/>
          </a:prstGeom>
          <a:ln w="12700" cmpd="sng">
            <a:solidFill>
              <a:schemeClr val="tx1">
                <a:lumMod val="85000"/>
                <a:lumOff val="15000"/>
              </a:schemeClr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63238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latin typeface="+mn-lt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5pPr>
            <a:lvl6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6pPr>
            <a:lvl7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7pPr>
            <a:lvl8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8pPr>
            <a:lvl9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1856034"/>
      </p:ext>
    </p:extLst>
  </p:cSld>
  <p:clrMapOvr>
    <a:masterClrMapping/>
  </p:clrMapOvr>
  <p:transition spd="med"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608514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48375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775578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08512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-1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582F08-8093-47A1-9970-B8AD25388240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0444761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926"/>
            <a:ext cx="4896379" cy="57467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DD01503-22A4-403B-8745-CA957BB7E5C9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8938552"/>
      </p:ext>
    </p:extLst>
  </p:cSld>
  <p:clrMapOvr>
    <a:masterClrMapping/>
  </p:clrMapOvr>
  <p:transition spd="med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607719" y="1"/>
            <a:ext cx="4607719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439863" cy="2592387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439863" y="1"/>
            <a:ext cx="1727200" cy="2592386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167063" y="0"/>
            <a:ext cx="1439860" cy="2592387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0" y="2592388"/>
            <a:ext cx="4606925" cy="2592331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194" y="1729298"/>
            <a:ext cx="2880006" cy="575374"/>
          </a:xfrm>
        </p:spPr>
        <p:txBody>
          <a:bodyPr anchor="b"/>
          <a:lstStyle>
            <a:lvl1pPr algn="ctr">
              <a:lnSpc>
                <a:spcPct val="7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AF21428-3AAB-4E23-87D9-A7754449DCE6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472193" y="2592388"/>
            <a:ext cx="2879725" cy="1728787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cap="all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90544520"/>
      </p:ext>
    </p:extLst>
  </p:cSld>
  <p:clrMapOvr>
    <a:masterClrMapping/>
  </p:clrMapOvr>
  <p:transition spd="med"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591858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879726" y="863600"/>
            <a:ext cx="2590802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471055" y="863600"/>
            <a:ext cx="2593108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699BB-0588-4A44-9E07-059F8FE8B735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287972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5471716" y="4032250"/>
            <a:ext cx="2304122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14237416"/>
      </p:ext>
    </p:extLst>
  </p:cSld>
  <p:clrMapOvr>
    <a:masterClrMapping/>
  </p:clrMapOvr>
  <p:transition spd="med"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+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287340" y="863600"/>
            <a:ext cx="2014534" cy="316897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301874" y="863600"/>
            <a:ext cx="2017808" cy="316897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19586" y="863600"/>
            <a:ext cx="2016126" cy="316897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335712" y="863600"/>
            <a:ext cx="2016126" cy="3168972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00424-D6FA-466A-9C15-4E982415079A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9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2301874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4319586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6335713" y="4032250"/>
            <a:ext cx="1728786" cy="576263"/>
          </a:xfrm>
        </p:spPr>
        <p:txBody>
          <a:bodyPr tIns="108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b="0" cap="all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cap="all" baseline="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 sz="1000" cap="all" baseline="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000" cap="all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1000" cap="all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35921524"/>
      </p:ext>
    </p:extLst>
  </p:cSld>
  <p:clrMapOvr>
    <a:masterClrMapping/>
  </p:clrMapOvr>
  <p:transition spd="med"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umer Profile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51A27-B862-46BA-B3AB-1AA3AA08923B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574677" y="1152202"/>
            <a:ext cx="420686" cy="288925"/>
            <a:chOff x="760" y="163"/>
            <a:chExt cx="4288" cy="2945"/>
          </a:xfrm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760" y="163"/>
              <a:ext cx="4288" cy="2945"/>
            </a:xfrm>
            <a:custGeom>
              <a:avLst/>
              <a:gdLst>
                <a:gd name="T0" fmla="*/ 1818 w 1818"/>
                <a:gd name="T1" fmla="*/ 624 h 1249"/>
                <a:gd name="T2" fmla="*/ 912 w 1818"/>
                <a:gd name="T3" fmla="*/ 1249 h 1249"/>
                <a:gd name="T4" fmla="*/ 0 w 1818"/>
                <a:gd name="T5" fmla="*/ 624 h 1249"/>
                <a:gd name="T6" fmla="*/ 906 w 1818"/>
                <a:gd name="T7" fmla="*/ 0 h 1249"/>
                <a:gd name="T8" fmla="*/ 1818 w 1818"/>
                <a:gd name="T9" fmla="*/ 624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8" h="1249">
                  <a:moveTo>
                    <a:pt x="1818" y="624"/>
                  </a:moveTo>
                  <a:cubicBezTo>
                    <a:pt x="1818" y="624"/>
                    <a:pt x="1414" y="1249"/>
                    <a:pt x="912" y="1249"/>
                  </a:cubicBezTo>
                  <a:cubicBezTo>
                    <a:pt x="411" y="1249"/>
                    <a:pt x="0" y="624"/>
                    <a:pt x="0" y="624"/>
                  </a:cubicBezTo>
                  <a:cubicBezTo>
                    <a:pt x="0" y="624"/>
                    <a:pt x="404" y="0"/>
                    <a:pt x="906" y="0"/>
                  </a:cubicBezTo>
                  <a:cubicBezTo>
                    <a:pt x="1407" y="0"/>
                    <a:pt x="1818" y="624"/>
                    <a:pt x="1818" y="624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281" y="1009"/>
              <a:ext cx="1276" cy="1252"/>
            </a:xfrm>
            <a:custGeom>
              <a:avLst/>
              <a:gdLst>
                <a:gd name="T0" fmla="*/ 270 w 541"/>
                <a:gd name="T1" fmla="*/ 0 h 531"/>
                <a:gd name="T2" fmla="*/ 155 w 541"/>
                <a:gd name="T3" fmla="*/ 26 h 531"/>
                <a:gd name="T4" fmla="*/ 180 w 541"/>
                <a:gd name="T5" fmla="*/ 100 h 531"/>
                <a:gd name="T6" fmla="*/ 59 w 541"/>
                <a:gd name="T7" fmla="*/ 221 h 531"/>
                <a:gd name="T8" fmla="*/ 6 w 541"/>
                <a:gd name="T9" fmla="*/ 209 h 531"/>
                <a:gd name="T10" fmla="*/ 0 w 541"/>
                <a:gd name="T11" fmla="*/ 265 h 531"/>
                <a:gd name="T12" fmla="*/ 270 w 541"/>
                <a:gd name="T13" fmla="*/ 531 h 531"/>
                <a:gd name="T14" fmla="*/ 541 w 541"/>
                <a:gd name="T15" fmla="*/ 265 h 531"/>
                <a:gd name="T16" fmla="*/ 270 w 541"/>
                <a:gd name="T1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1" h="531">
                  <a:moveTo>
                    <a:pt x="270" y="0"/>
                  </a:moveTo>
                  <a:cubicBezTo>
                    <a:pt x="229" y="0"/>
                    <a:pt x="190" y="9"/>
                    <a:pt x="155" y="26"/>
                  </a:cubicBezTo>
                  <a:cubicBezTo>
                    <a:pt x="170" y="46"/>
                    <a:pt x="180" y="72"/>
                    <a:pt x="180" y="100"/>
                  </a:cubicBezTo>
                  <a:cubicBezTo>
                    <a:pt x="180" y="167"/>
                    <a:pt x="126" y="221"/>
                    <a:pt x="59" y="221"/>
                  </a:cubicBezTo>
                  <a:cubicBezTo>
                    <a:pt x="40" y="221"/>
                    <a:pt x="22" y="217"/>
                    <a:pt x="6" y="209"/>
                  </a:cubicBezTo>
                  <a:cubicBezTo>
                    <a:pt x="2" y="227"/>
                    <a:pt x="0" y="246"/>
                    <a:pt x="0" y="265"/>
                  </a:cubicBezTo>
                  <a:cubicBezTo>
                    <a:pt x="0" y="412"/>
                    <a:pt x="121" y="531"/>
                    <a:pt x="270" y="531"/>
                  </a:cubicBezTo>
                  <a:cubicBezTo>
                    <a:pt x="420" y="531"/>
                    <a:pt x="541" y="412"/>
                    <a:pt x="541" y="265"/>
                  </a:cubicBezTo>
                  <a:cubicBezTo>
                    <a:pt x="541" y="119"/>
                    <a:pt x="420" y="0"/>
                    <a:pt x="270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557" y="623"/>
              <a:ext cx="559" cy="2049"/>
            </a:xfrm>
            <a:custGeom>
              <a:avLst/>
              <a:gdLst>
                <a:gd name="T0" fmla="*/ 0 w 237"/>
                <a:gd name="T1" fmla="*/ 869 h 869"/>
                <a:gd name="T2" fmla="*/ 237 w 237"/>
                <a:gd name="T3" fmla="*/ 436 h 869"/>
                <a:gd name="T4" fmla="*/ 0 w 237"/>
                <a:gd name="T5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0" y="869"/>
                  </a:moveTo>
                  <a:cubicBezTo>
                    <a:pt x="142" y="790"/>
                    <a:pt x="237" y="617"/>
                    <a:pt x="237" y="436"/>
                  </a:cubicBezTo>
                  <a:cubicBezTo>
                    <a:pt x="237" y="254"/>
                    <a:pt x="142" y="79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692" y="623"/>
              <a:ext cx="558" cy="2049"/>
            </a:xfrm>
            <a:custGeom>
              <a:avLst/>
              <a:gdLst>
                <a:gd name="T0" fmla="*/ 237 w 237"/>
                <a:gd name="T1" fmla="*/ 0 h 869"/>
                <a:gd name="T2" fmla="*/ 0 w 237"/>
                <a:gd name="T3" fmla="*/ 436 h 869"/>
                <a:gd name="T4" fmla="*/ 237 w 237"/>
                <a:gd name="T5" fmla="*/ 86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7" h="869">
                  <a:moveTo>
                    <a:pt x="237" y="0"/>
                  </a:moveTo>
                  <a:cubicBezTo>
                    <a:pt x="95" y="79"/>
                    <a:pt x="0" y="254"/>
                    <a:pt x="0" y="436"/>
                  </a:cubicBezTo>
                  <a:cubicBezTo>
                    <a:pt x="0" y="617"/>
                    <a:pt x="95" y="790"/>
                    <a:pt x="237" y="869"/>
                  </a:cubicBez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14" name="Group 11"/>
          <p:cNvGrpSpPr>
            <a:grpSpLocks noChangeAspect="1"/>
          </p:cNvGrpSpPr>
          <p:nvPr userDrawn="1"/>
        </p:nvGrpSpPr>
        <p:grpSpPr bwMode="auto">
          <a:xfrm>
            <a:off x="3167534" y="1152202"/>
            <a:ext cx="326213" cy="288928"/>
            <a:chOff x="1110" y="47"/>
            <a:chExt cx="3587" cy="3177"/>
          </a:xfrm>
        </p:grpSpPr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110" y="535"/>
              <a:ext cx="3587" cy="2689"/>
            </a:xfrm>
            <a:custGeom>
              <a:avLst/>
              <a:gdLst>
                <a:gd name="T0" fmla="*/ 2447 w 3587"/>
                <a:gd name="T1" fmla="*/ 0 h 2689"/>
                <a:gd name="T2" fmla="*/ 3587 w 3587"/>
                <a:gd name="T3" fmla="*/ 0 h 2689"/>
                <a:gd name="T4" fmla="*/ 3587 w 3587"/>
                <a:gd name="T5" fmla="*/ 2689 h 2689"/>
                <a:gd name="T6" fmla="*/ 0 w 3587"/>
                <a:gd name="T7" fmla="*/ 2689 h 2689"/>
                <a:gd name="T8" fmla="*/ 0 w 3587"/>
                <a:gd name="T9" fmla="*/ 0 h 2689"/>
                <a:gd name="T10" fmla="*/ 1305 w 3587"/>
                <a:gd name="T11" fmla="*/ 0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7" h="2689">
                  <a:moveTo>
                    <a:pt x="2447" y="0"/>
                  </a:moveTo>
                  <a:lnTo>
                    <a:pt x="3587" y="0"/>
                  </a:lnTo>
                  <a:lnTo>
                    <a:pt x="3587" y="2689"/>
                  </a:lnTo>
                  <a:lnTo>
                    <a:pt x="0" y="2689"/>
                  </a:lnTo>
                  <a:lnTo>
                    <a:pt x="0" y="0"/>
                  </a:lnTo>
                  <a:lnTo>
                    <a:pt x="130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516" y="1268"/>
              <a:ext cx="1305" cy="1548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516" y="2331"/>
              <a:ext cx="1305" cy="485"/>
            </a:xfrm>
            <a:custGeom>
              <a:avLst/>
              <a:gdLst>
                <a:gd name="T0" fmla="*/ 277 w 553"/>
                <a:gd name="T1" fmla="*/ 206 h 206"/>
                <a:gd name="T2" fmla="*/ 553 w 553"/>
                <a:gd name="T3" fmla="*/ 206 h 206"/>
                <a:gd name="T4" fmla="*/ 553 w 553"/>
                <a:gd name="T5" fmla="*/ 88 h 206"/>
                <a:gd name="T6" fmla="*/ 277 w 553"/>
                <a:gd name="T7" fmla="*/ 0 h 206"/>
                <a:gd name="T8" fmla="*/ 0 w 553"/>
                <a:gd name="T9" fmla="*/ 88 h 206"/>
                <a:gd name="T10" fmla="*/ 0 w 553"/>
                <a:gd name="T11" fmla="*/ 206 h 206"/>
                <a:gd name="T12" fmla="*/ 277 w 553"/>
                <a:gd name="T1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3" h="206">
                  <a:moveTo>
                    <a:pt x="277" y="206"/>
                  </a:moveTo>
                  <a:cubicBezTo>
                    <a:pt x="553" y="206"/>
                    <a:pt x="553" y="206"/>
                    <a:pt x="553" y="206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40" y="74"/>
                    <a:pt x="405" y="0"/>
                    <a:pt x="277" y="0"/>
                  </a:cubicBezTo>
                  <a:cubicBezTo>
                    <a:pt x="149" y="0"/>
                    <a:pt x="13" y="74"/>
                    <a:pt x="0" y="8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277" y="206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924" y="1513"/>
              <a:ext cx="491" cy="573"/>
            </a:xfrm>
            <a:custGeom>
              <a:avLst/>
              <a:gdLst>
                <a:gd name="T0" fmla="*/ 104 w 208"/>
                <a:gd name="T1" fmla="*/ 0 h 243"/>
                <a:gd name="T2" fmla="*/ 104 w 208"/>
                <a:gd name="T3" fmla="*/ 0 h 243"/>
                <a:gd name="T4" fmla="*/ 0 w 208"/>
                <a:gd name="T5" fmla="*/ 105 h 243"/>
                <a:gd name="T6" fmla="*/ 0 w 208"/>
                <a:gd name="T7" fmla="*/ 138 h 243"/>
                <a:gd name="T8" fmla="*/ 104 w 208"/>
                <a:gd name="T9" fmla="*/ 243 h 243"/>
                <a:gd name="T10" fmla="*/ 104 w 208"/>
                <a:gd name="T11" fmla="*/ 243 h 243"/>
                <a:gd name="T12" fmla="*/ 208 w 208"/>
                <a:gd name="T13" fmla="*/ 138 h 243"/>
                <a:gd name="T14" fmla="*/ 208 w 208"/>
                <a:gd name="T15" fmla="*/ 105 h 243"/>
                <a:gd name="T16" fmla="*/ 104 w 208"/>
                <a:gd name="T17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243">
                  <a:moveTo>
                    <a:pt x="104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6"/>
                    <a:pt x="47" y="243"/>
                    <a:pt x="104" y="243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61" y="243"/>
                    <a:pt x="208" y="196"/>
                    <a:pt x="208" y="138"/>
                  </a:cubicBezTo>
                  <a:cubicBezTo>
                    <a:pt x="208" y="105"/>
                    <a:pt x="208" y="105"/>
                    <a:pt x="208" y="105"/>
                  </a:cubicBezTo>
                  <a:cubicBezTo>
                    <a:pt x="208" y="47"/>
                    <a:pt x="161" y="0"/>
                    <a:pt x="104" y="0"/>
                  </a:cubicBez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19" name="Line 16"/>
            <p:cNvSpPr>
              <a:spLocks noChangeShapeType="1"/>
            </p:cNvSpPr>
            <p:nvPr/>
          </p:nvSpPr>
          <p:spPr bwMode="auto">
            <a:xfrm>
              <a:off x="3229" y="1595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>
              <a:off x="3229" y="1921"/>
              <a:ext cx="1062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1" name="Line 18"/>
            <p:cNvSpPr>
              <a:spLocks noChangeShapeType="1"/>
            </p:cNvSpPr>
            <p:nvPr/>
          </p:nvSpPr>
          <p:spPr bwMode="auto">
            <a:xfrm>
              <a:off x="3229" y="2246"/>
              <a:ext cx="571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2" name="Line 19"/>
            <p:cNvSpPr>
              <a:spLocks noChangeShapeType="1"/>
            </p:cNvSpPr>
            <p:nvPr/>
          </p:nvSpPr>
          <p:spPr bwMode="auto">
            <a:xfrm>
              <a:off x="2333" y="862"/>
              <a:ext cx="130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3" name="Line 20"/>
            <p:cNvSpPr>
              <a:spLocks noChangeShapeType="1"/>
            </p:cNvSpPr>
            <p:nvPr/>
          </p:nvSpPr>
          <p:spPr bwMode="auto">
            <a:xfrm flipH="1">
              <a:off x="2007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4" name="Line 21"/>
            <p:cNvSpPr>
              <a:spLocks noChangeShapeType="1"/>
            </p:cNvSpPr>
            <p:nvPr/>
          </p:nvSpPr>
          <p:spPr bwMode="auto">
            <a:xfrm>
              <a:off x="3800" y="862"/>
              <a:ext cx="163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658" y="47"/>
              <a:ext cx="654" cy="815"/>
            </a:xfrm>
            <a:prstGeom prst="rect">
              <a:avLst/>
            </a:prstGeom>
            <a:noFill/>
            <a:ln w="12700" cap="flat">
              <a:solidFill>
                <a:srgbClr val="50505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 userDrawn="1"/>
        </p:nvGrpSpPr>
        <p:grpSpPr bwMode="auto">
          <a:xfrm>
            <a:off x="5759868" y="1076461"/>
            <a:ext cx="259934" cy="364666"/>
            <a:chOff x="1875" y="24852"/>
            <a:chExt cx="2050" cy="364666"/>
          </a:xfrm>
        </p:grpSpPr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2260" y="24852"/>
              <a:ext cx="1280" cy="73035"/>
            </a:xfrm>
            <a:custGeom>
              <a:avLst/>
              <a:gdLst>
                <a:gd name="T0" fmla="*/ 347 w 542"/>
                <a:gd name="T1" fmla="*/ 108 h 244"/>
                <a:gd name="T2" fmla="*/ 352 w 542"/>
                <a:gd name="T3" fmla="*/ 81 h 244"/>
                <a:gd name="T4" fmla="*/ 271 w 542"/>
                <a:gd name="T5" fmla="*/ 0 h 244"/>
                <a:gd name="T6" fmla="*/ 190 w 542"/>
                <a:gd name="T7" fmla="*/ 81 h 244"/>
                <a:gd name="T8" fmla="*/ 195 w 542"/>
                <a:gd name="T9" fmla="*/ 108 h 244"/>
                <a:gd name="T10" fmla="*/ 0 w 542"/>
                <a:gd name="T11" fmla="*/ 108 h 244"/>
                <a:gd name="T12" fmla="*/ 0 w 542"/>
                <a:gd name="T13" fmla="*/ 244 h 244"/>
                <a:gd name="T14" fmla="*/ 542 w 542"/>
                <a:gd name="T15" fmla="*/ 244 h 244"/>
                <a:gd name="T16" fmla="*/ 542 w 542"/>
                <a:gd name="T17" fmla="*/ 108 h 244"/>
                <a:gd name="T18" fmla="*/ 347 w 542"/>
                <a:gd name="T19" fmla="*/ 10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244">
                  <a:moveTo>
                    <a:pt x="347" y="108"/>
                  </a:moveTo>
                  <a:cubicBezTo>
                    <a:pt x="350" y="100"/>
                    <a:pt x="352" y="91"/>
                    <a:pt x="352" y="81"/>
                  </a:cubicBezTo>
                  <a:cubicBezTo>
                    <a:pt x="352" y="36"/>
                    <a:pt x="316" y="0"/>
                    <a:pt x="271" y="0"/>
                  </a:cubicBezTo>
                  <a:cubicBezTo>
                    <a:pt x="226" y="0"/>
                    <a:pt x="190" y="36"/>
                    <a:pt x="190" y="81"/>
                  </a:cubicBezTo>
                  <a:cubicBezTo>
                    <a:pt x="190" y="91"/>
                    <a:pt x="192" y="100"/>
                    <a:pt x="195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542" y="244"/>
                    <a:pt x="542" y="244"/>
                    <a:pt x="542" y="244"/>
                  </a:cubicBezTo>
                  <a:cubicBezTo>
                    <a:pt x="542" y="108"/>
                    <a:pt x="542" y="108"/>
                    <a:pt x="542" y="108"/>
                  </a:cubicBezTo>
                  <a:lnTo>
                    <a:pt x="347" y="108"/>
                  </a:lnTo>
                  <a:close/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875" y="73669"/>
              <a:ext cx="2050" cy="315849"/>
            </a:xfrm>
            <a:custGeom>
              <a:avLst/>
              <a:gdLst>
                <a:gd name="T0" fmla="*/ 1665 w 2050"/>
                <a:gd name="T1" fmla="*/ 0 h 2491"/>
                <a:gd name="T2" fmla="*/ 2050 w 2050"/>
                <a:gd name="T3" fmla="*/ 0 h 2491"/>
                <a:gd name="T4" fmla="*/ 2050 w 2050"/>
                <a:gd name="T5" fmla="*/ 2491 h 2491"/>
                <a:gd name="T6" fmla="*/ 0 w 2050"/>
                <a:gd name="T7" fmla="*/ 2491 h 2491"/>
                <a:gd name="T8" fmla="*/ 0 w 2050"/>
                <a:gd name="T9" fmla="*/ 0 h 2491"/>
                <a:gd name="T10" fmla="*/ 385 w 2050"/>
                <a:gd name="T11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0" h="2491">
                  <a:moveTo>
                    <a:pt x="1665" y="0"/>
                  </a:moveTo>
                  <a:lnTo>
                    <a:pt x="2050" y="0"/>
                  </a:lnTo>
                  <a:lnTo>
                    <a:pt x="2050" y="2491"/>
                  </a:lnTo>
                  <a:lnTo>
                    <a:pt x="0" y="2491"/>
                  </a:lnTo>
                  <a:lnTo>
                    <a:pt x="0" y="0"/>
                  </a:lnTo>
                  <a:lnTo>
                    <a:pt x="385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2196" y="154565"/>
              <a:ext cx="513" cy="64920"/>
            </a:xfrm>
            <a:custGeom>
              <a:avLst/>
              <a:gdLst>
                <a:gd name="T0" fmla="*/ 513 w 513"/>
                <a:gd name="T1" fmla="*/ 382 h 512"/>
                <a:gd name="T2" fmla="*/ 513 w 513"/>
                <a:gd name="T3" fmla="*/ 512 h 512"/>
                <a:gd name="T4" fmla="*/ 0 w 513"/>
                <a:gd name="T5" fmla="*/ 512 h 512"/>
                <a:gd name="T6" fmla="*/ 0 w 513"/>
                <a:gd name="T7" fmla="*/ 0 h 512"/>
                <a:gd name="T8" fmla="*/ 319 w 513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2">
                  <a:moveTo>
                    <a:pt x="513" y="382"/>
                  </a:moveTo>
                  <a:lnTo>
                    <a:pt x="513" y="512"/>
                  </a:lnTo>
                  <a:lnTo>
                    <a:pt x="0" y="512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2388" y="150380"/>
              <a:ext cx="479" cy="44632"/>
            </a:xfrm>
            <a:custGeom>
              <a:avLst/>
              <a:gdLst>
                <a:gd name="T0" fmla="*/ 0 w 479"/>
                <a:gd name="T1" fmla="*/ 224 h 352"/>
                <a:gd name="T2" fmla="*/ 127 w 479"/>
                <a:gd name="T3" fmla="*/ 352 h 352"/>
                <a:gd name="T4" fmla="*/ 479 w 479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2">
                  <a:moveTo>
                    <a:pt x="0" y="224"/>
                  </a:moveTo>
                  <a:lnTo>
                    <a:pt x="127" y="352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2196" y="267920"/>
              <a:ext cx="513" cy="64793"/>
            </a:xfrm>
            <a:custGeom>
              <a:avLst/>
              <a:gdLst>
                <a:gd name="T0" fmla="*/ 513 w 513"/>
                <a:gd name="T1" fmla="*/ 384 h 511"/>
                <a:gd name="T2" fmla="*/ 513 w 513"/>
                <a:gd name="T3" fmla="*/ 511 h 511"/>
                <a:gd name="T4" fmla="*/ 0 w 513"/>
                <a:gd name="T5" fmla="*/ 511 h 511"/>
                <a:gd name="T6" fmla="*/ 0 w 513"/>
                <a:gd name="T7" fmla="*/ 0 h 511"/>
                <a:gd name="T8" fmla="*/ 319 w 513"/>
                <a:gd name="T9" fmla="*/ 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511">
                  <a:moveTo>
                    <a:pt x="513" y="384"/>
                  </a:moveTo>
                  <a:lnTo>
                    <a:pt x="513" y="511"/>
                  </a:lnTo>
                  <a:lnTo>
                    <a:pt x="0" y="511"/>
                  </a:ln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2388" y="263990"/>
              <a:ext cx="479" cy="44505"/>
            </a:xfrm>
            <a:custGeom>
              <a:avLst/>
              <a:gdLst>
                <a:gd name="T0" fmla="*/ 0 w 479"/>
                <a:gd name="T1" fmla="*/ 224 h 351"/>
                <a:gd name="T2" fmla="*/ 127 w 479"/>
                <a:gd name="T3" fmla="*/ 351 h 351"/>
                <a:gd name="T4" fmla="*/ 479 w 479"/>
                <a:gd name="T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9" h="351">
                  <a:moveTo>
                    <a:pt x="0" y="224"/>
                  </a:moveTo>
                  <a:lnTo>
                    <a:pt x="127" y="351"/>
                  </a:lnTo>
                  <a:lnTo>
                    <a:pt x="479" y="0"/>
                  </a:lnTo>
                </a:path>
              </a:pathLst>
            </a:cu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028" y="170794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028" y="203001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3028" y="284277"/>
              <a:ext cx="640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3028" y="316822"/>
              <a:ext cx="385" cy="0"/>
            </a:xfrm>
            <a:prstGeom prst="line">
              <a:avLst/>
            </a:prstGeom>
            <a:noFill/>
            <a:ln w="12700" cap="flat">
              <a:solidFill>
                <a:srgbClr val="50505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diText Light Beta" pitchFamily="34" charset="0"/>
              </a:endParaRPr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>
          <a:xfrm>
            <a:off x="574675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/>
          </p:nvPr>
        </p:nvSpPr>
        <p:spPr>
          <a:xfrm>
            <a:off x="3166781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/>
          </p:nvPr>
        </p:nvSpPr>
        <p:spPr>
          <a:xfrm>
            <a:off x="5759867" y="1728787"/>
            <a:ext cx="2305049" cy="259182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0115935"/>
      </p:ext>
    </p:extLst>
  </p:cSld>
  <p:clrMapOvr>
    <a:masterClrMapping/>
  </p:clrMapOvr>
  <p:transition spd="med"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319588" y="397"/>
            <a:ext cx="4896510" cy="5184378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1DC3B7-A91E-4D34-8BC9-939427960AE7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0250200"/>
      </p:ext>
    </p:extLst>
  </p:cSld>
  <p:clrMapOvr>
    <a:masterClrMapping/>
  </p:clrMapOvr>
  <p:transition spd="med"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" y="396"/>
            <a:ext cx="2016126" cy="5183982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016125" y="397"/>
            <a:ext cx="2303463" cy="1728392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2016125" y="1728788"/>
            <a:ext cx="2303595" cy="172759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016125" y="3456384"/>
            <a:ext cx="2303595" cy="1727994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319984" y="396"/>
            <a:ext cx="2303066" cy="2591991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18794" y="2592388"/>
            <a:ext cx="2303462" cy="2591989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623712" y="397"/>
            <a:ext cx="2592386" cy="5184378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7338" y="288395"/>
            <a:ext cx="4319587" cy="57520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765085F-F1F3-43B2-8EE4-7388569ABAAF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3065046"/>
      </p:ext>
    </p:extLst>
  </p:cSld>
  <p:clrMapOvr>
    <a:masterClrMapping/>
  </p:clrMapOvr>
  <p:transition spd="med"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76131" y="576263"/>
            <a:ext cx="1439597" cy="403225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30663" y="576263"/>
            <a:ext cx="2881311" cy="2016786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11711" y="576263"/>
            <a:ext cx="1727993" cy="2016125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030663" y="2592389"/>
            <a:ext cx="1728787" cy="2016124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9715" y="2592388"/>
            <a:ext cx="2879460" cy="2016654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288395"/>
            <a:ext cx="4033044" cy="287999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2016390" y="576263"/>
            <a:ext cx="2014273" cy="1152525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016126" y="1728127"/>
            <a:ext cx="2014538" cy="1440523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2016390" y="3168650"/>
            <a:ext cx="2014273" cy="1439863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>
              <a:defRPr/>
            </a:pPr>
            <a:fld id="{2C251C89-C4F4-4F41-BC6D-FBA2D9BCE25D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0745155"/>
      </p:ext>
    </p:extLst>
  </p:cSld>
  <p:clrMapOvr>
    <a:masterClrMapping/>
  </p:clrMapOvr>
  <p:transition spd="med"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5" y="576263"/>
            <a:ext cx="2879725" cy="4032250"/>
          </a:xfrm>
          <a:solidFill>
            <a:schemeClr val="bg2"/>
          </a:solidFill>
        </p:spPr>
        <p:txBody>
          <a:bodyPr anchor="ctr"/>
          <a:lstStyle>
            <a:lvl1pPr algn="ctr">
              <a:defRPr b="0">
                <a:solidFill>
                  <a:srgbClr val="FAFAFA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31721" y="1439862"/>
            <a:ext cx="4319985" cy="1440523"/>
          </a:xfrm>
        </p:spPr>
        <p:txBody>
          <a:bodyPr anchor="b"/>
          <a:lstStyle>
            <a:lvl1pPr>
              <a:defRPr sz="3200"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030663" y="2880386"/>
            <a:ext cx="3991756" cy="172799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fld id="{94B514A9-A37D-4417-B77D-9CEC503F6D0E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382781"/>
      </p:ext>
    </p:extLst>
  </p:cSld>
  <p:clrMapOvr>
    <a:masterClrMapping/>
  </p:clrMapOvr>
  <p:transition spd="med"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74676" y="576262"/>
            <a:ext cx="3745006" cy="4321043"/>
          </a:xfr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606925" y="2313558"/>
            <a:ext cx="3743325" cy="2294821"/>
          </a:xfr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7660F91-D183-4891-A97D-A642225AAC08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3566698"/>
      </p:ext>
    </p:extLst>
  </p:cSld>
  <p:clrMapOvr>
    <a:masterClrMapping/>
  </p:clrMapOvr>
  <p:transition spd="med"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Mess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9215438" cy="5184774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1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574675" y="1728788"/>
            <a:ext cx="4608513" cy="2879591"/>
          </a:xfr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adineue TEXT Black" panose="020B0A030202010600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EAB0674-B3DF-445A-9172-8B46A067284F}" type="datetime5">
              <a:rPr lang="en-US" smtClean="0"/>
              <a:t>27-Ap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9596725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slideLayout" Target="../slideLayouts/slideLayout61.xml"/><Relationship Id="rId3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56.xml"/><Relationship Id="rId34" Type="http://schemas.openxmlformats.org/officeDocument/2006/relationships/slideLayout" Target="../slideLayouts/slideLayout69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slideLayout" Target="../slideLayouts/slideLayout60.xml"/><Relationship Id="rId33" Type="http://schemas.openxmlformats.org/officeDocument/2006/relationships/slideLayout" Target="../slideLayouts/slideLayout68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29" Type="http://schemas.openxmlformats.org/officeDocument/2006/relationships/slideLayout" Target="../slideLayouts/slideLayout64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59.xml"/><Relationship Id="rId32" Type="http://schemas.openxmlformats.org/officeDocument/2006/relationships/slideLayout" Target="../slideLayouts/slideLayout67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slideLayout" Target="../slideLayouts/slideLayout6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31" Type="http://schemas.openxmlformats.org/officeDocument/2006/relationships/slideLayout" Target="../slideLayouts/slideLayout66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slideLayout" Target="../slideLayouts/slideLayout62.xml"/><Relationship Id="rId30" Type="http://schemas.openxmlformats.org/officeDocument/2006/relationships/slideLayout" Target="../slideLayouts/slideLayout65.xml"/><Relationship Id="rId35" Type="http://schemas.openxmlformats.org/officeDocument/2006/relationships/slideLayout" Target="../slideLayouts/slideLayout7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3.xml"/><Relationship Id="rId18" Type="http://schemas.openxmlformats.org/officeDocument/2006/relationships/slideLayout" Target="../slideLayouts/slideLayout88.xml"/><Relationship Id="rId26" Type="http://schemas.openxmlformats.org/officeDocument/2006/relationships/slideLayout" Target="../slideLayouts/slideLayout96.xml"/><Relationship Id="rId3" Type="http://schemas.openxmlformats.org/officeDocument/2006/relationships/slideLayout" Target="../slideLayouts/slideLayout73.xml"/><Relationship Id="rId21" Type="http://schemas.openxmlformats.org/officeDocument/2006/relationships/slideLayout" Target="../slideLayouts/slideLayout91.xml"/><Relationship Id="rId34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17" Type="http://schemas.openxmlformats.org/officeDocument/2006/relationships/slideLayout" Target="../slideLayouts/slideLayout87.xml"/><Relationship Id="rId25" Type="http://schemas.openxmlformats.org/officeDocument/2006/relationships/slideLayout" Target="../slideLayouts/slideLayout95.xml"/><Relationship Id="rId33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72.xml"/><Relationship Id="rId16" Type="http://schemas.openxmlformats.org/officeDocument/2006/relationships/slideLayout" Target="../slideLayouts/slideLayout86.xml"/><Relationship Id="rId20" Type="http://schemas.openxmlformats.org/officeDocument/2006/relationships/slideLayout" Target="../slideLayouts/slideLayout90.xml"/><Relationship Id="rId29" Type="http://schemas.openxmlformats.org/officeDocument/2006/relationships/slideLayout" Target="../slideLayouts/slideLayout99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24" Type="http://schemas.openxmlformats.org/officeDocument/2006/relationships/slideLayout" Target="../slideLayouts/slideLayout94.xml"/><Relationship Id="rId32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75.xml"/><Relationship Id="rId15" Type="http://schemas.openxmlformats.org/officeDocument/2006/relationships/slideLayout" Target="../slideLayouts/slideLayout85.xml"/><Relationship Id="rId23" Type="http://schemas.openxmlformats.org/officeDocument/2006/relationships/slideLayout" Target="../slideLayouts/slideLayout93.xml"/><Relationship Id="rId28" Type="http://schemas.openxmlformats.org/officeDocument/2006/relationships/slideLayout" Target="../slideLayouts/slideLayout98.xml"/><Relationship Id="rId36" Type="http://schemas.openxmlformats.org/officeDocument/2006/relationships/theme" Target="../theme/theme3.xml"/><Relationship Id="rId10" Type="http://schemas.openxmlformats.org/officeDocument/2006/relationships/slideLayout" Target="../slideLayouts/slideLayout80.xml"/><Relationship Id="rId19" Type="http://schemas.openxmlformats.org/officeDocument/2006/relationships/slideLayout" Target="../slideLayouts/slideLayout89.xml"/><Relationship Id="rId31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Relationship Id="rId22" Type="http://schemas.openxmlformats.org/officeDocument/2006/relationships/slideLayout" Target="../slideLayouts/slideLayout92.xml"/><Relationship Id="rId27" Type="http://schemas.openxmlformats.org/officeDocument/2006/relationships/slideLayout" Target="../slideLayouts/slideLayout97.xml"/><Relationship Id="rId30" Type="http://schemas.openxmlformats.org/officeDocument/2006/relationships/slideLayout" Target="../slideLayouts/slideLayout100.xml"/><Relationship Id="rId35" Type="http://schemas.openxmlformats.org/officeDocument/2006/relationships/slideLayout" Target="../slideLayouts/slideLayout10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slideLayout" Target="../slideLayouts/slideLayout118.xml"/><Relationship Id="rId18" Type="http://schemas.openxmlformats.org/officeDocument/2006/relationships/slideLayout" Target="../slideLayouts/slideLayout123.xml"/><Relationship Id="rId26" Type="http://schemas.openxmlformats.org/officeDocument/2006/relationships/slideLayout" Target="../slideLayouts/slideLayout131.xml"/><Relationship Id="rId3" Type="http://schemas.openxmlformats.org/officeDocument/2006/relationships/slideLayout" Target="../slideLayouts/slideLayout108.xml"/><Relationship Id="rId21" Type="http://schemas.openxmlformats.org/officeDocument/2006/relationships/slideLayout" Target="../slideLayouts/slideLayout126.xml"/><Relationship Id="rId34" Type="http://schemas.openxmlformats.org/officeDocument/2006/relationships/slideLayout" Target="../slideLayouts/slideLayout139.xml"/><Relationship Id="rId7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17.xml"/><Relationship Id="rId17" Type="http://schemas.openxmlformats.org/officeDocument/2006/relationships/slideLayout" Target="../slideLayouts/slideLayout122.xml"/><Relationship Id="rId25" Type="http://schemas.openxmlformats.org/officeDocument/2006/relationships/slideLayout" Target="../slideLayouts/slideLayout130.xml"/><Relationship Id="rId33" Type="http://schemas.openxmlformats.org/officeDocument/2006/relationships/slideLayout" Target="../slideLayouts/slideLayout138.xml"/><Relationship Id="rId2" Type="http://schemas.openxmlformats.org/officeDocument/2006/relationships/slideLayout" Target="../slideLayouts/slideLayout107.xml"/><Relationship Id="rId16" Type="http://schemas.openxmlformats.org/officeDocument/2006/relationships/slideLayout" Target="../slideLayouts/slideLayout121.xml"/><Relationship Id="rId20" Type="http://schemas.openxmlformats.org/officeDocument/2006/relationships/slideLayout" Target="../slideLayouts/slideLayout125.xml"/><Relationship Id="rId29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24" Type="http://schemas.openxmlformats.org/officeDocument/2006/relationships/slideLayout" Target="../slideLayouts/slideLayout129.xml"/><Relationship Id="rId32" Type="http://schemas.openxmlformats.org/officeDocument/2006/relationships/slideLayout" Target="../slideLayouts/slideLayout137.xml"/><Relationship Id="rId5" Type="http://schemas.openxmlformats.org/officeDocument/2006/relationships/slideLayout" Target="../slideLayouts/slideLayout110.xml"/><Relationship Id="rId15" Type="http://schemas.openxmlformats.org/officeDocument/2006/relationships/slideLayout" Target="../slideLayouts/slideLayout120.xml"/><Relationship Id="rId23" Type="http://schemas.openxmlformats.org/officeDocument/2006/relationships/slideLayout" Target="../slideLayouts/slideLayout128.xml"/><Relationship Id="rId28" Type="http://schemas.openxmlformats.org/officeDocument/2006/relationships/slideLayout" Target="../slideLayouts/slideLayout133.xml"/><Relationship Id="rId36" Type="http://schemas.openxmlformats.org/officeDocument/2006/relationships/theme" Target="../theme/theme4.xml"/><Relationship Id="rId10" Type="http://schemas.openxmlformats.org/officeDocument/2006/relationships/slideLayout" Target="../slideLayouts/slideLayout115.xml"/><Relationship Id="rId19" Type="http://schemas.openxmlformats.org/officeDocument/2006/relationships/slideLayout" Target="../slideLayouts/slideLayout124.xml"/><Relationship Id="rId31" Type="http://schemas.openxmlformats.org/officeDocument/2006/relationships/slideLayout" Target="../slideLayouts/slideLayout136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slideLayout" Target="../slideLayouts/slideLayout119.xml"/><Relationship Id="rId22" Type="http://schemas.openxmlformats.org/officeDocument/2006/relationships/slideLayout" Target="../slideLayouts/slideLayout127.xml"/><Relationship Id="rId27" Type="http://schemas.openxmlformats.org/officeDocument/2006/relationships/slideLayout" Target="../slideLayouts/slideLayout132.xml"/><Relationship Id="rId30" Type="http://schemas.openxmlformats.org/officeDocument/2006/relationships/slideLayout" Target="../slideLayouts/slideLayout135.xml"/><Relationship Id="rId35" Type="http://schemas.openxmlformats.org/officeDocument/2006/relationships/slideLayout" Target="../slideLayouts/slideLayout14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8.xml"/><Relationship Id="rId13" Type="http://schemas.openxmlformats.org/officeDocument/2006/relationships/slideLayout" Target="../slideLayouts/slideLayout153.xml"/><Relationship Id="rId18" Type="http://schemas.openxmlformats.org/officeDocument/2006/relationships/slideLayout" Target="../slideLayouts/slideLayout158.xml"/><Relationship Id="rId26" Type="http://schemas.openxmlformats.org/officeDocument/2006/relationships/slideLayout" Target="../slideLayouts/slideLayout166.xml"/><Relationship Id="rId3" Type="http://schemas.openxmlformats.org/officeDocument/2006/relationships/slideLayout" Target="../slideLayouts/slideLayout143.xml"/><Relationship Id="rId21" Type="http://schemas.openxmlformats.org/officeDocument/2006/relationships/slideLayout" Target="../slideLayouts/slideLayout161.xml"/><Relationship Id="rId34" Type="http://schemas.openxmlformats.org/officeDocument/2006/relationships/slideLayout" Target="../slideLayouts/slideLayout174.xml"/><Relationship Id="rId7" Type="http://schemas.openxmlformats.org/officeDocument/2006/relationships/slideLayout" Target="../slideLayouts/slideLayout147.xml"/><Relationship Id="rId12" Type="http://schemas.openxmlformats.org/officeDocument/2006/relationships/slideLayout" Target="../slideLayouts/slideLayout152.xml"/><Relationship Id="rId17" Type="http://schemas.openxmlformats.org/officeDocument/2006/relationships/slideLayout" Target="../slideLayouts/slideLayout157.xml"/><Relationship Id="rId25" Type="http://schemas.openxmlformats.org/officeDocument/2006/relationships/slideLayout" Target="../slideLayouts/slideLayout165.xml"/><Relationship Id="rId33" Type="http://schemas.openxmlformats.org/officeDocument/2006/relationships/slideLayout" Target="../slideLayouts/slideLayout173.xml"/><Relationship Id="rId2" Type="http://schemas.openxmlformats.org/officeDocument/2006/relationships/slideLayout" Target="../slideLayouts/slideLayout142.xml"/><Relationship Id="rId16" Type="http://schemas.openxmlformats.org/officeDocument/2006/relationships/slideLayout" Target="../slideLayouts/slideLayout156.xml"/><Relationship Id="rId20" Type="http://schemas.openxmlformats.org/officeDocument/2006/relationships/slideLayout" Target="../slideLayouts/slideLayout160.xml"/><Relationship Id="rId29" Type="http://schemas.openxmlformats.org/officeDocument/2006/relationships/slideLayout" Target="../slideLayouts/slideLayout169.xml"/><Relationship Id="rId1" Type="http://schemas.openxmlformats.org/officeDocument/2006/relationships/slideLayout" Target="../slideLayouts/slideLayout141.xml"/><Relationship Id="rId6" Type="http://schemas.openxmlformats.org/officeDocument/2006/relationships/slideLayout" Target="../slideLayouts/slideLayout146.xml"/><Relationship Id="rId11" Type="http://schemas.openxmlformats.org/officeDocument/2006/relationships/slideLayout" Target="../slideLayouts/slideLayout151.xml"/><Relationship Id="rId24" Type="http://schemas.openxmlformats.org/officeDocument/2006/relationships/slideLayout" Target="../slideLayouts/slideLayout164.xml"/><Relationship Id="rId32" Type="http://schemas.openxmlformats.org/officeDocument/2006/relationships/slideLayout" Target="../slideLayouts/slideLayout172.xml"/><Relationship Id="rId5" Type="http://schemas.openxmlformats.org/officeDocument/2006/relationships/slideLayout" Target="../slideLayouts/slideLayout145.xml"/><Relationship Id="rId15" Type="http://schemas.openxmlformats.org/officeDocument/2006/relationships/slideLayout" Target="../slideLayouts/slideLayout155.xml"/><Relationship Id="rId23" Type="http://schemas.openxmlformats.org/officeDocument/2006/relationships/slideLayout" Target="../slideLayouts/slideLayout163.xml"/><Relationship Id="rId28" Type="http://schemas.openxmlformats.org/officeDocument/2006/relationships/slideLayout" Target="../slideLayouts/slideLayout168.xml"/><Relationship Id="rId36" Type="http://schemas.openxmlformats.org/officeDocument/2006/relationships/theme" Target="../theme/theme5.xml"/><Relationship Id="rId10" Type="http://schemas.openxmlformats.org/officeDocument/2006/relationships/slideLayout" Target="../slideLayouts/slideLayout150.xml"/><Relationship Id="rId19" Type="http://schemas.openxmlformats.org/officeDocument/2006/relationships/slideLayout" Target="../slideLayouts/slideLayout159.xml"/><Relationship Id="rId31" Type="http://schemas.openxmlformats.org/officeDocument/2006/relationships/slideLayout" Target="../slideLayouts/slideLayout171.xml"/><Relationship Id="rId4" Type="http://schemas.openxmlformats.org/officeDocument/2006/relationships/slideLayout" Target="../slideLayouts/slideLayout144.xml"/><Relationship Id="rId9" Type="http://schemas.openxmlformats.org/officeDocument/2006/relationships/slideLayout" Target="../slideLayouts/slideLayout149.xml"/><Relationship Id="rId14" Type="http://schemas.openxmlformats.org/officeDocument/2006/relationships/slideLayout" Target="../slideLayouts/slideLayout154.xml"/><Relationship Id="rId22" Type="http://schemas.openxmlformats.org/officeDocument/2006/relationships/slideLayout" Target="../slideLayouts/slideLayout162.xml"/><Relationship Id="rId27" Type="http://schemas.openxmlformats.org/officeDocument/2006/relationships/slideLayout" Target="../slideLayouts/slideLayout167.xml"/><Relationship Id="rId30" Type="http://schemas.openxmlformats.org/officeDocument/2006/relationships/slideLayout" Target="../slideLayouts/slideLayout170.xml"/><Relationship Id="rId35" Type="http://schemas.openxmlformats.org/officeDocument/2006/relationships/slideLayout" Target="../slideLayouts/slideLayout17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3.xml"/><Relationship Id="rId13" Type="http://schemas.openxmlformats.org/officeDocument/2006/relationships/slideLayout" Target="../slideLayouts/slideLayout188.xml"/><Relationship Id="rId18" Type="http://schemas.openxmlformats.org/officeDocument/2006/relationships/slideLayout" Target="../slideLayouts/slideLayout193.xml"/><Relationship Id="rId26" Type="http://schemas.openxmlformats.org/officeDocument/2006/relationships/slideLayout" Target="../slideLayouts/slideLayout201.xml"/><Relationship Id="rId3" Type="http://schemas.openxmlformats.org/officeDocument/2006/relationships/slideLayout" Target="../slideLayouts/slideLayout178.xml"/><Relationship Id="rId21" Type="http://schemas.openxmlformats.org/officeDocument/2006/relationships/slideLayout" Target="../slideLayouts/slideLayout196.xml"/><Relationship Id="rId34" Type="http://schemas.openxmlformats.org/officeDocument/2006/relationships/slideLayout" Target="../slideLayouts/slideLayout209.xml"/><Relationship Id="rId7" Type="http://schemas.openxmlformats.org/officeDocument/2006/relationships/slideLayout" Target="../slideLayouts/slideLayout182.xml"/><Relationship Id="rId12" Type="http://schemas.openxmlformats.org/officeDocument/2006/relationships/slideLayout" Target="../slideLayouts/slideLayout187.xml"/><Relationship Id="rId17" Type="http://schemas.openxmlformats.org/officeDocument/2006/relationships/slideLayout" Target="../slideLayouts/slideLayout192.xml"/><Relationship Id="rId25" Type="http://schemas.openxmlformats.org/officeDocument/2006/relationships/slideLayout" Target="../slideLayouts/slideLayout200.xml"/><Relationship Id="rId33" Type="http://schemas.openxmlformats.org/officeDocument/2006/relationships/slideLayout" Target="../slideLayouts/slideLayout208.xml"/><Relationship Id="rId2" Type="http://schemas.openxmlformats.org/officeDocument/2006/relationships/slideLayout" Target="../slideLayouts/slideLayout177.xml"/><Relationship Id="rId16" Type="http://schemas.openxmlformats.org/officeDocument/2006/relationships/slideLayout" Target="../slideLayouts/slideLayout191.xml"/><Relationship Id="rId20" Type="http://schemas.openxmlformats.org/officeDocument/2006/relationships/slideLayout" Target="../slideLayouts/slideLayout195.xml"/><Relationship Id="rId29" Type="http://schemas.openxmlformats.org/officeDocument/2006/relationships/slideLayout" Target="../slideLayouts/slideLayout204.xml"/><Relationship Id="rId1" Type="http://schemas.openxmlformats.org/officeDocument/2006/relationships/slideLayout" Target="../slideLayouts/slideLayout176.xml"/><Relationship Id="rId6" Type="http://schemas.openxmlformats.org/officeDocument/2006/relationships/slideLayout" Target="../slideLayouts/slideLayout181.xml"/><Relationship Id="rId11" Type="http://schemas.openxmlformats.org/officeDocument/2006/relationships/slideLayout" Target="../slideLayouts/slideLayout186.xml"/><Relationship Id="rId24" Type="http://schemas.openxmlformats.org/officeDocument/2006/relationships/slideLayout" Target="../slideLayouts/slideLayout199.xml"/><Relationship Id="rId32" Type="http://schemas.openxmlformats.org/officeDocument/2006/relationships/slideLayout" Target="../slideLayouts/slideLayout207.xml"/><Relationship Id="rId5" Type="http://schemas.openxmlformats.org/officeDocument/2006/relationships/slideLayout" Target="../slideLayouts/slideLayout180.xml"/><Relationship Id="rId15" Type="http://schemas.openxmlformats.org/officeDocument/2006/relationships/slideLayout" Target="../slideLayouts/slideLayout190.xml"/><Relationship Id="rId23" Type="http://schemas.openxmlformats.org/officeDocument/2006/relationships/slideLayout" Target="../slideLayouts/slideLayout198.xml"/><Relationship Id="rId28" Type="http://schemas.openxmlformats.org/officeDocument/2006/relationships/slideLayout" Target="../slideLayouts/slideLayout203.xml"/><Relationship Id="rId36" Type="http://schemas.openxmlformats.org/officeDocument/2006/relationships/theme" Target="../theme/theme6.xml"/><Relationship Id="rId10" Type="http://schemas.openxmlformats.org/officeDocument/2006/relationships/slideLayout" Target="../slideLayouts/slideLayout185.xml"/><Relationship Id="rId19" Type="http://schemas.openxmlformats.org/officeDocument/2006/relationships/slideLayout" Target="../slideLayouts/slideLayout194.xml"/><Relationship Id="rId31" Type="http://schemas.openxmlformats.org/officeDocument/2006/relationships/slideLayout" Target="../slideLayouts/slideLayout206.xml"/><Relationship Id="rId4" Type="http://schemas.openxmlformats.org/officeDocument/2006/relationships/slideLayout" Target="../slideLayouts/slideLayout179.xml"/><Relationship Id="rId9" Type="http://schemas.openxmlformats.org/officeDocument/2006/relationships/slideLayout" Target="../slideLayouts/slideLayout184.xml"/><Relationship Id="rId14" Type="http://schemas.openxmlformats.org/officeDocument/2006/relationships/slideLayout" Target="../slideLayouts/slideLayout189.xml"/><Relationship Id="rId22" Type="http://schemas.openxmlformats.org/officeDocument/2006/relationships/slideLayout" Target="../slideLayouts/slideLayout197.xml"/><Relationship Id="rId27" Type="http://schemas.openxmlformats.org/officeDocument/2006/relationships/slideLayout" Target="../slideLayouts/slideLayout202.xml"/><Relationship Id="rId30" Type="http://schemas.openxmlformats.org/officeDocument/2006/relationships/slideLayout" Target="../slideLayouts/slideLayout205.xml"/><Relationship Id="rId35" Type="http://schemas.openxmlformats.org/officeDocument/2006/relationships/slideLayout" Target="../slideLayouts/slideLayout21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8.xml"/><Relationship Id="rId13" Type="http://schemas.openxmlformats.org/officeDocument/2006/relationships/slideLayout" Target="../slideLayouts/slideLayout223.xml"/><Relationship Id="rId18" Type="http://schemas.openxmlformats.org/officeDocument/2006/relationships/slideLayout" Target="../slideLayouts/slideLayout228.xml"/><Relationship Id="rId26" Type="http://schemas.openxmlformats.org/officeDocument/2006/relationships/slideLayout" Target="../slideLayouts/slideLayout236.xml"/><Relationship Id="rId3" Type="http://schemas.openxmlformats.org/officeDocument/2006/relationships/slideLayout" Target="../slideLayouts/slideLayout213.xml"/><Relationship Id="rId21" Type="http://schemas.openxmlformats.org/officeDocument/2006/relationships/slideLayout" Target="../slideLayouts/slideLayout231.xml"/><Relationship Id="rId34" Type="http://schemas.openxmlformats.org/officeDocument/2006/relationships/slideLayout" Target="../slideLayouts/slideLayout244.xml"/><Relationship Id="rId7" Type="http://schemas.openxmlformats.org/officeDocument/2006/relationships/slideLayout" Target="../slideLayouts/slideLayout217.xml"/><Relationship Id="rId12" Type="http://schemas.openxmlformats.org/officeDocument/2006/relationships/slideLayout" Target="../slideLayouts/slideLayout222.xml"/><Relationship Id="rId17" Type="http://schemas.openxmlformats.org/officeDocument/2006/relationships/slideLayout" Target="../slideLayouts/slideLayout227.xml"/><Relationship Id="rId25" Type="http://schemas.openxmlformats.org/officeDocument/2006/relationships/slideLayout" Target="../slideLayouts/slideLayout235.xml"/><Relationship Id="rId33" Type="http://schemas.openxmlformats.org/officeDocument/2006/relationships/slideLayout" Target="../slideLayouts/slideLayout243.xml"/><Relationship Id="rId2" Type="http://schemas.openxmlformats.org/officeDocument/2006/relationships/slideLayout" Target="../slideLayouts/slideLayout212.xml"/><Relationship Id="rId16" Type="http://schemas.openxmlformats.org/officeDocument/2006/relationships/slideLayout" Target="../slideLayouts/slideLayout226.xml"/><Relationship Id="rId20" Type="http://schemas.openxmlformats.org/officeDocument/2006/relationships/slideLayout" Target="../slideLayouts/slideLayout230.xml"/><Relationship Id="rId29" Type="http://schemas.openxmlformats.org/officeDocument/2006/relationships/slideLayout" Target="../slideLayouts/slideLayout239.xml"/><Relationship Id="rId1" Type="http://schemas.openxmlformats.org/officeDocument/2006/relationships/slideLayout" Target="../slideLayouts/slideLayout211.xml"/><Relationship Id="rId6" Type="http://schemas.openxmlformats.org/officeDocument/2006/relationships/slideLayout" Target="../slideLayouts/slideLayout216.xml"/><Relationship Id="rId11" Type="http://schemas.openxmlformats.org/officeDocument/2006/relationships/slideLayout" Target="../slideLayouts/slideLayout221.xml"/><Relationship Id="rId24" Type="http://schemas.openxmlformats.org/officeDocument/2006/relationships/slideLayout" Target="../slideLayouts/slideLayout234.xml"/><Relationship Id="rId32" Type="http://schemas.openxmlformats.org/officeDocument/2006/relationships/slideLayout" Target="../slideLayouts/slideLayout242.xml"/><Relationship Id="rId5" Type="http://schemas.openxmlformats.org/officeDocument/2006/relationships/slideLayout" Target="../slideLayouts/slideLayout215.xml"/><Relationship Id="rId15" Type="http://schemas.openxmlformats.org/officeDocument/2006/relationships/slideLayout" Target="../slideLayouts/slideLayout225.xml"/><Relationship Id="rId23" Type="http://schemas.openxmlformats.org/officeDocument/2006/relationships/slideLayout" Target="../slideLayouts/slideLayout233.xml"/><Relationship Id="rId28" Type="http://schemas.openxmlformats.org/officeDocument/2006/relationships/slideLayout" Target="../slideLayouts/slideLayout238.xml"/><Relationship Id="rId36" Type="http://schemas.openxmlformats.org/officeDocument/2006/relationships/theme" Target="../theme/theme7.xml"/><Relationship Id="rId10" Type="http://schemas.openxmlformats.org/officeDocument/2006/relationships/slideLayout" Target="../slideLayouts/slideLayout220.xml"/><Relationship Id="rId19" Type="http://schemas.openxmlformats.org/officeDocument/2006/relationships/slideLayout" Target="../slideLayouts/slideLayout229.xml"/><Relationship Id="rId31" Type="http://schemas.openxmlformats.org/officeDocument/2006/relationships/slideLayout" Target="../slideLayouts/slideLayout241.xml"/><Relationship Id="rId4" Type="http://schemas.openxmlformats.org/officeDocument/2006/relationships/slideLayout" Target="../slideLayouts/slideLayout214.xml"/><Relationship Id="rId9" Type="http://schemas.openxmlformats.org/officeDocument/2006/relationships/slideLayout" Target="../slideLayouts/slideLayout219.xml"/><Relationship Id="rId14" Type="http://schemas.openxmlformats.org/officeDocument/2006/relationships/slideLayout" Target="../slideLayouts/slideLayout224.xml"/><Relationship Id="rId22" Type="http://schemas.openxmlformats.org/officeDocument/2006/relationships/slideLayout" Target="../slideLayouts/slideLayout232.xml"/><Relationship Id="rId27" Type="http://schemas.openxmlformats.org/officeDocument/2006/relationships/slideLayout" Target="../slideLayouts/slideLayout237.xml"/><Relationship Id="rId30" Type="http://schemas.openxmlformats.org/officeDocument/2006/relationships/slideLayout" Target="../slideLayouts/slideLayout240.xml"/><Relationship Id="rId35" Type="http://schemas.openxmlformats.org/officeDocument/2006/relationships/slideLayout" Target="../slideLayouts/slideLayout24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248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47.xml"/><Relationship Id="rId1" Type="http://schemas.openxmlformats.org/officeDocument/2006/relationships/slideLayout" Target="../slideLayouts/slideLayout246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8.xml"/><Relationship Id="rId4" Type="http://schemas.openxmlformats.org/officeDocument/2006/relationships/slideLayout" Target="../slideLayouts/slideLayout249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7-Ap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2335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8" r:id="rId1"/>
    <p:sldLayoutId id="2147484269" r:id="rId2"/>
    <p:sldLayoutId id="2147484270" r:id="rId3"/>
    <p:sldLayoutId id="2147484271" r:id="rId4"/>
    <p:sldLayoutId id="2147484272" r:id="rId5"/>
    <p:sldLayoutId id="2147484273" r:id="rId6"/>
    <p:sldLayoutId id="2147484274" r:id="rId7"/>
    <p:sldLayoutId id="2147484275" r:id="rId8"/>
    <p:sldLayoutId id="2147484276" r:id="rId9"/>
    <p:sldLayoutId id="2147484277" r:id="rId10"/>
    <p:sldLayoutId id="2147484278" r:id="rId11"/>
    <p:sldLayoutId id="2147484279" r:id="rId12"/>
    <p:sldLayoutId id="2147484280" r:id="rId13"/>
    <p:sldLayoutId id="2147484281" r:id="rId14"/>
    <p:sldLayoutId id="2147484282" r:id="rId15"/>
    <p:sldLayoutId id="2147484283" r:id="rId16"/>
    <p:sldLayoutId id="2147484284" r:id="rId17"/>
    <p:sldLayoutId id="2147484285" r:id="rId18"/>
    <p:sldLayoutId id="2147484286" r:id="rId19"/>
    <p:sldLayoutId id="2147484287" r:id="rId20"/>
    <p:sldLayoutId id="2147484288" r:id="rId21"/>
    <p:sldLayoutId id="2147484289" r:id="rId22"/>
    <p:sldLayoutId id="2147484290" r:id="rId23"/>
    <p:sldLayoutId id="2147484291" r:id="rId24"/>
    <p:sldLayoutId id="2147484292" r:id="rId25"/>
    <p:sldLayoutId id="2147484293" r:id="rId26"/>
    <p:sldLayoutId id="2147484294" r:id="rId27"/>
    <p:sldLayoutId id="2147484295" r:id="rId28"/>
    <p:sldLayoutId id="2147484296" r:id="rId29"/>
    <p:sldLayoutId id="2147484759" r:id="rId30"/>
    <p:sldLayoutId id="2147484297" r:id="rId31"/>
    <p:sldLayoutId id="2147484298" r:id="rId32"/>
    <p:sldLayoutId id="2147484299" r:id="rId33"/>
    <p:sldLayoutId id="2147484301" r:id="rId34"/>
    <p:sldLayoutId id="2147484547" r:id="rId35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7-Ap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1823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1" r:id="rId1"/>
    <p:sldLayoutId id="2147484762" r:id="rId2"/>
    <p:sldLayoutId id="2147484763" r:id="rId3"/>
    <p:sldLayoutId id="2147484764" r:id="rId4"/>
    <p:sldLayoutId id="2147484765" r:id="rId5"/>
    <p:sldLayoutId id="2147484766" r:id="rId6"/>
    <p:sldLayoutId id="2147484767" r:id="rId7"/>
    <p:sldLayoutId id="2147484768" r:id="rId8"/>
    <p:sldLayoutId id="2147484769" r:id="rId9"/>
    <p:sldLayoutId id="2147484770" r:id="rId10"/>
    <p:sldLayoutId id="2147484771" r:id="rId11"/>
    <p:sldLayoutId id="2147484772" r:id="rId12"/>
    <p:sldLayoutId id="2147484773" r:id="rId13"/>
    <p:sldLayoutId id="2147484774" r:id="rId14"/>
    <p:sldLayoutId id="2147484775" r:id="rId15"/>
    <p:sldLayoutId id="2147484776" r:id="rId16"/>
    <p:sldLayoutId id="2147484777" r:id="rId17"/>
    <p:sldLayoutId id="2147484778" r:id="rId18"/>
    <p:sldLayoutId id="2147484779" r:id="rId19"/>
    <p:sldLayoutId id="2147484780" r:id="rId20"/>
    <p:sldLayoutId id="2147484781" r:id="rId21"/>
    <p:sldLayoutId id="2147484782" r:id="rId22"/>
    <p:sldLayoutId id="2147484783" r:id="rId23"/>
    <p:sldLayoutId id="2147484784" r:id="rId24"/>
    <p:sldLayoutId id="2147484785" r:id="rId25"/>
    <p:sldLayoutId id="2147484786" r:id="rId26"/>
    <p:sldLayoutId id="2147484787" r:id="rId27"/>
    <p:sldLayoutId id="2147484788" r:id="rId28"/>
    <p:sldLayoutId id="2147484789" r:id="rId29"/>
    <p:sldLayoutId id="2147484790" r:id="rId30"/>
    <p:sldLayoutId id="2147484791" r:id="rId31"/>
    <p:sldLayoutId id="2147484792" r:id="rId32"/>
    <p:sldLayoutId id="2147484793" r:id="rId33"/>
    <p:sldLayoutId id="2147484794" r:id="rId34"/>
    <p:sldLayoutId id="2147484795" r:id="rId35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7-Ap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3656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7" r:id="rId1"/>
    <p:sldLayoutId id="2147484798" r:id="rId2"/>
    <p:sldLayoutId id="2147484799" r:id="rId3"/>
    <p:sldLayoutId id="2147484800" r:id="rId4"/>
    <p:sldLayoutId id="2147484801" r:id="rId5"/>
    <p:sldLayoutId id="2147484802" r:id="rId6"/>
    <p:sldLayoutId id="2147484803" r:id="rId7"/>
    <p:sldLayoutId id="2147484804" r:id="rId8"/>
    <p:sldLayoutId id="2147484805" r:id="rId9"/>
    <p:sldLayoutId id="2147484806" r:id="rId10"/>
    <p:sldLayoutId id="2147484807" r:id="rId11"/>
    <p:sldLayoutId id="2147484808" r:id="rId12"/>
    <p:sldLayoutId id="2147484809" r:id="rId13"/>
    <p:sldLayoutId id="2147484810" r:id="rId14"/>
    <p:sldLayoutId id="2147484811" r:id="rId15"/>
    <p:sldLayoutId id="2147484812" r:id="rId16"/>
    <p:sldLayoutId id="2147484813" r:id="rId17"/>
    <p:sldLayoutId id="2147484814" r:id="rId18"/>
    <p:sldLayoutId id="2147484815" r:id="rId19"/>
    <p:sldLayoutId id="2147484816" r:id="rId20"/>
    <p:sldLayoutId id="2147484817" r:id="rId21"/>
    <p:sldLayoutId id="2147484818" r:id="rId22"/>
    <p:sldLayoutId id="2147484819" r:id="rId23"/>
    <p:sldLayoutId id="2147484820" r:id="rId24"/>
    <p:sldLayoutId id="2147484821" r:id="rId25"/>
    <p:sldLayoutId id="2147484822" r:id="rId26"/>
    <p:sldLayoutId id="2147484823" r:id="rId27"/>
    <p:sldLayoutId id="2147484824" r:id="rId28"/>
    <p:sldLayoutId id="2147484825" r:id="rId29"/>
    <p:sldLayoutId id="2147484826" r:id="rId30"/>
    <p:sldLayoutId id="2147484827" r:id="rId31"/>
    <p:sldLayoutId id="2147484828" r:id="rId32"/>
    <p:sldLayoutId id="2147484829" r:id="rId33"/>
    <p:sldLayoutId id="2147484830" r:id="rId34"/>
    <p:sldLayoutId id="2147484831" r:id="rId35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7-Ap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7460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33" r:id="rId1"/>
    <p:sldLayoutId id="2147484834" r:id="rId2"/>
    <p:sldLayoutId id="2147484835" r:id="rId3"/>
    <p:sldLayoutId id="2147484836" r:id="rId4"/>
    <p:sldLayoutId id="2147484837" r:id="rId5"/>
    <p:sldLayoutId id="2147484838" r:id="rId6"/>
    <p:sldLayoutId id="2147484839" r:id="rId7"/>
    <p:sldLayoutId id="2147484840" r:id="rId8"/>
    <p:sldLayoutId id="2147484841" r:id="rId9"/>
    <p:sldLayoutId id="2147484842" r:id="rId10"/>
    <p:sldLayoutId id="2147484843" r:id="rId11"/>
    <p:sldLayoutId id="2147484844" r:id="rId12"/>
    <p:sldLayoutId id="2147484845" r:id="rId13"/>
    <p:sldLayoutId id="2147484846" r:id="rId14"/>
    <p:sldLayoutId id="2147484847" r:id="rId15"/>
    <p:sldLayoutId id="2147484848" r:id="rId16"/>
    <p:sldLayoutId id="2147484849" r:id="rId17"/>
    <p:sldLayoutId id="2147484850" r:id="rId18"/>
    <p:sldLayoutId id="2147484851" r:id="rId19"/>
    <p:sldLayoutId id="2147484852" r:id="rId20"/>
    <p:sldLayoutId id="2147484853" r:id="rId21"/>
    <p:sldLayoutId id="2147484854" r:id="rId22"/>
    <p:sldLayoutId id="2147484855" r:id="rId23"/>
    <p:sldLayoutId id="2147484856" r:id="rId24"/>
    <p:sldLayoutId id="2147484857" r:id="rId25"/>
    <p:sldLayoutId id="2147484858" r:id="rId26"/>
    <p:sldLayoutId id="2147484859" r:id="rId27"/>
    <p:sldLayoutId id="2147484860" r:id="rId28"/>
    <p:sldLayoutId id="2147484861" r:id="rId29"/>
    <p:sldLayoutId id="2147484862" r:id="rId30"/>
    <p:sldLayoutId id="2147484863" r:id="rId31"/>
    <p:sldLayoutId id="2147484864" r:id="rId32"/>
    <p:sldLayoutId id="2147484865" r:id="rId33"/>
    <p:sldLayoutId id="2147484866" r:id="rId34"/>
    <p:sldLayoutId id="2147484867" r:id="rId35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7-Ap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6483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9" r:id="rId1"/>
    <p:sldLayoutId id="2147484870" r:id="rId2"/>
    <p:sldLayoutId id="2147484871" r:id="rId3"/>
    <p:sldLayoutId id="2147484872" r:id="rId4"/>
    <p:sldLayoutId id="2147484873" r:id="rId5"/>
    <p:sldLayoutId id="2147484874" r:id="rId6"/>
    <p:sldLayoutId id="2147484875" r:id="rId7"/>
    <p:sldLayoutId id="2147484876" r:id="rId8"/>
    <p:sldLayoutId id="2147484877" r:id="rId9"/>
    <p:sldLayoutId id="2147484878" r:id="rId10"/>
    <p:sldLayoutId id="2147484879" r:id="rId11"/>
    <p:sldLayoutId id="2147484880" r:id="rId12"/>
    <p:sldLayoutId id="2147484881" r:id="rId13"/>
    <p:sldLayoutId id="2147484882" r:id="rId14"/>
    <p:sldLayoutId id="2147484883" r:id="rId15"/>
    <p:sldLayoutId id="2147484884" r:id="rId16"/>
    <p:sldLayoutId id="2147484885" r:id="rId17"/>
    <p:sldLayoutId id="2147484886" r:id="rId18"/>
    <p:sldLayoutId id="2147484887" r:id="rId19"/>
    <p:sldLayoutId id="2147484888" r:id="rId20"/>
    <p:sldLayoutId id="2147484889" r:id="rId21"/>
    <p:sldLayoutId id="2147484890" r:id="rId22"/>
    <p:sldLayoutId id="2147484891" r:id="rId23"/>
    <p:sldLayoutId id="2147484892" r:id="rId24"/>
    <p:sldLayoutId id="2147484893" r:id="rId25"/>
    <p:sldLayoutId id="2147484894" r:id="rId26"/>
    <p:sldLayoutId id="2147484895" r:id="rId27"/>
    <p:sldLayoutId id="2147484896" r:id="rId28"/>
    <p:sldLayoutId id="2147484897" r:id="rId29"/>
    <p:sldLayoutId id="2147484898" r:id="rId30"/>
    <p:sldLayoutId id="2147484899" r:id="rId31"/>
    <p:sldLayoutId id="2147484900" r:id="rId32"/>
    <p:sldLayoutId id="2147484901" r:id="rId33"/>
    <p:sldLayoutId id="2147484902" r:id="rId34"/>
    <p:sldLayoutId id="2147484903" r:id="rId35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7-Ap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9912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05" r:id="rId1"/>
    <p:sldLayoutId id="2147484906" r:id="rId2"/>
    <p:sldLayoutId id="2147484907" r:id="rId3"/>
    <p:sldLayoutId id="2147484908" r:id="rId4"/>
    <p:sldLayoutId id="2147484909" r:id="rId5"/>
    <p:sldLayoutId id="2147484910" r:id="rId6"/>
    <p:sldLayoutId id="2147484911" r:id="rId7"/>
    <p:sldLayoutId id="2147484912" r:id="rId8"/>
    <p:sldLayoutId id="2147484913" r:id="rId9"/>
    <p:sldLayoutId id="2147484914" r:id="rId10"/>
    <p:sldLayoutId id="2147484915" r:id="rId11"/>
    <p:sldLayoutId id="2147484916" r:id="rId12"/>
    <p:sldLayoutId id="2147484917" r:id="rId13"/>
    <p:sldLayoutId id="2147484918" r:id="rId14"/>
    <p:sldLayoutId id="2147484919" r:id="rId15"/>
    <p:sldLayoutId id="2147484920" r:id="rId16"/>
    <p:sldLayoutId id="2147484921" r:id="rId17"/>
    <p:sldLayoutId id="2147484922" r:id="rId18"/>
    <p:sldLayoutId id="2147484923" r:id="rId19"/>
    <p:sldLayoutId id="2147484924" r:id="rId20"/>
    <p:sldLayoutId id="2147484925" r:id="rId21"/>
    <p:sldLayoutId id="2147484926" r:id="rId22"/>
    <p:sldLayoutId id="2147484927" r:id="rId23"/>
    <p:sldLayoutId id="2147484928" r:id="rId24"/>
    <p:sldLayoutId id="2147484929" r:id="rId25"/>
    <p:sldLayoutId id="2147484930" r:id="rId26"/>
    <p:sldLayoutId id="2147484931" r:id="rId27"/>
    <p:sldLayoutId id="2147484932" r:id="rId28"/>
    <p:sldLayoutId id="2147484933" r:id="rId29"/>
    <p:sldLayoutId id="2147484934" r:id="rId30"/>
    <p:sldLayoutId id="2147484935" r:id="rId31"/>
    <p:sldLayoutId id="2147484936" r:id="rId32"/>
    <p:sldLayoutId id="2147484937" r:id="rId33"/>
    <p:sldLayoutId id="2147484938" r:id="rId34"/>
    <p:sldLayoutId id="2147484939" r:id="rId35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4" y="288926"/>
            <a:ext cx="7775179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de-DE" noProof="0" dirty="0" err="1"/>
              <a:t>Eighth</a:t>
            </a:r>
            <a:r>
              <a:rPr lang="de-DE" noProof="0" dirty="0"/>
              <a:t> Level</a:t>
            </a:r>
          </a:p>
          <a:p>
            <a:pPr lvl="8"/>
            <a:r>
              <a:rPr lang="de-DE" noProof="0" dirty="0" err="1"/>
              <a:t>Ninth</a:t>
            </a:r>
            <a:r>
              <a:rPr lang="de-DE" noProof="0" dirty="0"/>
              <a:t>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62912" y="4897438"/>
            <a:ext cx="577325" cy="287282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ct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15714788-AFC6-40FA-802F-44E49E8A40E6}" type="datetime5">
              <a:rPr lang="en-US" smtClean="0"/>
              <a:pPr>
                <a:defRPr/>
              </a:pPr>
              <a:t>27-Apr-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2250" y="4897438"/>
            <a:ext cx="4030663" cy="28728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defTabSz="921421" fontAlgn="auto">
              <a:spcBef>
                <a:spcPts val="0"/>
              </a:spcBef>
              <a:spcAft>
                <a:spcPts val="0"/>
              </a:spcAft>
              <a:buClrTx/>
              <a:defRPr sz="600" b="0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r>
              <a:rPr lang="en-US" dirty="0"/>
              <a:t>FOOTER / PRESENTATION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39176" y="4896683"/>
            <a:ext cx="576262" cy="288091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 defTabSz="921421" fontAlgn="auto">
              <a:spcBef>
                <a:spcPts val="0"/>
              </a:spcBef>
              <a:spcAft>
                <a:spcPts val="0"/>
              </a:spcAft>
              <a:buClrTx/>
              <a:defRPr sz="600" b="1" i="0" cap="all" baseline="0">
                <a:solidFill>
                  <a:schemeClr val="tx2"/>
                </a:solidFill>
                <a:latin typeface="AdihausDIN" panose="020B0504020101020102" pitchFamily="34" charset="0"/>
                <a:ea typeface="AdihausDIN" panose="020B0504020101020102" pitchFamily="34" charset="0"/>
                <a:cs typeface="AdihausDIN" panose="020B0504020101020102" pitchFamily="34" charset="0"/>
              </a:defRPr>
            </a:lvl1pPr>
          </a:lstStyle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5342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1" r:id="rId1"/>
    <p:sldLayoutId id="2147484942" r:id="rId2"/>
    <p:sldLayoutId id="2147484943" r:id="rId3"/>
    <p:sldLayoutId id="2147484944" r:id="rId4"/>
    <p:sldLayoutId id="2147484945" r:id="rId5"/>
    <p:sldLayoutId id="2147484946" r:id="rId6"/>
    <p:sldLayoutId id="2147484947" r:id="rId7"/>
    <p:sldLayoutId id="2147484948" r:id="rId8"/>
    <p:sldLayoutId id="2147484949" r:id="rId9"/>
    <p:sldLayoutId id="2147484950" r:id="rId10"/>
    <p:sldLayoutId id="2147484951" r:id="rId11"/>
    <p:sldLayoutId id="2147484952" r:id="rId12"/>
    <p:sldLayoutId id="2147484953" r:id="rId13"/>
    <p:sldLayoutId id="2147484954" r:id="rId14"/>
    <p:sldLayoutId id="2147484955" r:id="rId15"/>
    <p:sldLayoutId id="2147484956" r:id="rId16"/>
    <p:sldLayoutId id="2147484957" r:id="rId17"/>
    <p:sldLayoutId id="2147484958" r:id="rId18"/>
    <p:sldLayoutId id="2147484959" r:id="rId19"/>
    <p:sldLayoutId id="2147484960" r:id="rId20"/>
    <p:sldLayoutId id="2147484961" r:id="rId21"/>
    <p:sldLayoutId id="2147484962" r:id="rId22"/>
    <p:sldLayoutId id="2147484963" r:id="rId23"/>
    <p:sldLayoutId id="2147484964" r:id="rId24"/>
    <p:sldLayoutId id="2147484965" r:id="rId25"/>
    <p:sldLayoutId id="2147484966" r:id="rId26"/>
    <p:sldLayoutId id="2147484967" r:id="rId27"/>
    <p:sldLayoutId id="2147484968" r:id="rId28"/>
    <p:sldLayoutId id="2147484969" r:id="rId29"/>
    <p:sldLayoutId id="2147484970" r:id="rId30"/>
    <p:sldLayoutId id="2147484971" r:id="rId31"/>
    <p:sldLayoutId id="2147484972" r:id="rId32"/>
    <p:sldLayoutId id="2147484973" r:id="rId33"/>
    <p:sldLayoutId id="2147484974" r:id="rId34"/>
    <p:sldLayoutId id="2147484975" r:id="rId35"/>
  </p:sldLayoutIdLst>
  <p:transition spd="med">
    <p:fade/>
  </p:transition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4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89811E-4B4D-4159-914C-C231631FCC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89811E-4B4D-4159-914C-C231631FCC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7733" y="288926"/>
            <a:ext cx="8640000" cy="5754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4675" y="1152526"/>
            <a:ext cx="7488238" cy="3168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 </a:t>
            </a:r>
          </a:p>
          <a:p>
            <a:pPr lvl="1"/>
            <a:r>
              <a:rPr lang="en-US" noProof="0" dirty="0"/>
              <a:t>Second level 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 </a:t>
            </a:r>
          </a:p>
          <a:p>
            <a:pPr lvl="4"/>
            <a:r>
              <a:rPr lang="en-US" noProof="0" dirty="0"/>
              <a:t>Fifth level 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432127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77" r:id="rId1"/>
    <p:sldLayoutId id="2147484978" r:id="rId2"/>
    <p:sldLayoutId id="2147484979" r:id="rId3"/>
    <p:sldLayoutId id="2147484981" r:id="rId4"/>
  </p:sldLayoutIdLst>
  <p:transition spd="med">
    <p:fade/>
  </p:transition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1800" b="0" i="0" kern="1200" cap="all">
          <a:solidFill>
            <a:schemeClr val="tx1"/>
          </a:solidFill>
          <a:latin typeface="adineue TEXT Black" panose="020B0A03020201060004" pitchFamily="34" charset="0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tx1"/>
          </a:solidFill>
          <a:latin typeface="adineue PRO Light" pitchFamily="34" charset="0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itchFamily="34" charset="0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1pPr>
      <a:lvl2pPr marL="180769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Wingdings" pitchFamily="2" charset="2"/>
        <a:buChar char="§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2pPr>
      <a:lvl3pPr marL="181386" indent="-181386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+mj-lt"/>
        <a:buAutoNum type="arabicPeriod"/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3pPr>
      <a:lvl4pPr marL="3583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hausDIN" panose="020B0504020101020102" pitchFamily="34" charset="0"/>
        <a:buChar char="–"/>
        <a:defRPr sz="1200" kern="1200" cap="none" baseline="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4pPr>
      <a:lvl5pPr marL="361538" indent="-180769" algn="l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SzPct val="90000"/>
        <a:buFont typeface="adineue PRO" pitchFamily="34" charset="0"/>
        <a:buAutoNum type="arabicPeriod"/>
        <a:tabLst>
          <a:tab pos="990230" algn="l"/>
        </a:tabLst>
        <a:defRPr sz="1200" kern="1200">
          <a:solidFill>
            <a:schemeClr val="tx1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5pPr>
      <a:lvl6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Black" panose="020B0A03020201060004" pitchFamily="34" charset="0"/>
          <a:ea typeface="+mn-ea"/>
          <a:cs typeface="AdihausDIN" panose="020B0504020101020102" pitchFamily="34" charset="0"/>
        </a:defRPr>
      </a:lvl6pPr>
      <a:lvl7pPr marL="0" indent="0" algn="l" defTabSz="921477" rtl="0" eaLnBrk="1" latinLnBrk="0" hangingPunct="1">
        <a:lnSpc>
          <a:spcPct val="70000"/>
        </a:lnSpc>
        <a:spcBef>
          <a:spcPts val="600"/>
        </a:spcBef>
        <a:spcAft>
          <a:spcPts val="600"/>
        </a:spcAft>
        <a:buClrTx/>
        <a:buSzPct val="90000"/>
        <a:buFont typeface="Wingdings" pitchFamily="2" charset="2"/>
        <a:buNone/>
        <a:tabLst>
          <a:tab pos="990269" algn="l"/>
        </a:tabLst>
        <a:defRPr sz="2400" b="0" i="0" kern="1200" cap="all" baseline="0">
          <a:solidFill>
            <a:schemeClr val="tx1"/>
          </a:solidFill>
          <a:latin typeface="adineue TEXT Light" panose="020B0303020201060004" pitchFamily="34" charset="0"/>
          <a:ea typeface="+mn-ea"/>
          <a:cs typeface="AdihausDIN" panose="020B0504020101020102" pitchFamily="34" charset="0"/>
        </a:defRPr>
      </a:lvl7pPr>
      <a:lvl8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8pPr>
      <a:lvl9pPr marL="0" indent="0" algn="l" defTabSz="921477" rtl="0" eaLnBrk="1" latinLnBrk="0" hangingPunct="1">
        <a:lnSpc>
          <a:spcPct val="90000"/>
        </a:lnSpc>
        <a:spcBef>
          <a:spcPts val="605"/>
        </a:spcBef>
        <a:buClrTx/>
        <a:buSzPct val="90000"/>
        <a:buFont typeface="Wingdings" pitchFamily="2" charset="2"/>
        <a:buNone/>
        <a:tabLst>
          <a:tab pos="990269" algn="l"/>
        </a:tabLst>
        <a:defRPr sz="1000" b="0" kern="1200">
          <a:solidFill>
            <a:schemeClr val="tx2"/>
          </a:solidFill>
          <a:latin typeface="AdihausDIN" panose="020B0504020101020102" pitchFamily="34" charset="0"/>
          <a:ea typeface="+mn-ea"/>
          <a:cs typeface="AdihausDIN" panose="020B0504020101020102" pitchFamily="34" charset="0"/>
        </a:defRPr>
      </a:lvl9pPr>
    </p:bodyStyle>
    <p:otherStyle>
      <a:defPPr>
        <a:defRPr lang="en-US"/>
      </a:defPPr>
      <a:lvl1pPr marL="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60740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2147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82217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4295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03695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6443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225172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85911" algn="l" defTabSz="921477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Rectangle 86">
            <a:extLst>
              <a:ext uri="{FF2B5EF4-FFF2-40B4-BE49-F238E27FC236}">
                <a16:creationId xmlns:a16="http://schemas.microsoft.com/office/drawing/2014/main" id="{5436B117-D511-43A0-B9C8-76E0C868757A}"/>
              </a:ext>
            </a:extLst>
          </p:cNvPr>
          <p:cNvSpPr/>
          <p:nvPr/>
        </p:nvSpPr>
        <p:spPr bwMode="gray">
          <a:xfrm>
            <a:off x="405227" y="2906399"/>
            <a:ext cx="6301739" cy="705592"/>
          </a:xfrm>
          <a:prstGeom prst="rect">
            <a:avLst/>
          </a:prstGeom>
          <a:solidFill>
            <a:schemeClr val="accent3">
              <a:alpha val="10196"/>
            </a:schemeClr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900" b="1" dirty="0">
                <a:solidFill>
                  <a:schemeClr val="accent3"/>
                </a:solidFill>
                <a:cs typeface="AdihausDIN Cn" panose="020B0506020101010102" pitchFamily="34" charset="0"/>
              </a:rPr>
              <a:t>ASSAYS</a:t>
            </a:r>
            <a:br>
              <a:rPr lang="en-US" sz="1000" b="1" dirty="0">
                <a:solidFill>
                  <a:schemeClr val="accent3"/>
                </a:solidFill>
                <a:cs typeface="AdihausDIN Cn" panose="020B0506020101010102" pitchFamily="34" charset="0"/>
              </a:rPr>
            </a:br>
            <a:r>
              <a:rPr lang="en-US" sz="700" dirty="0">
                <a:solidFill>
                  <a:schemeClr val="accent3"/>
                </a:solidFill>
              </a:rPr>
              <a:t>Specific, individual experiments, </a:t>
            </a:r>
            <a:br>
              <a:rPr lang="en-US" sz="700" dirty="0">
                <a:solidFill>
                  <a:schemeClr val="accent3"/>
                </a:solidFill>
              </a:rPr>
            </a:br>
            <a:r>
              <a:rPr lang="en-US" sz="700" dirty="0">
                <a:solidFill>
                  <a:schemeClr val="accent3"/>
                </a:solidFill>
              </a:rPr>
              <a:t>measurements, or modelling tasks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600" b="1" i="1" dirty="0">
                <a:solidFill>
                  <a:schemeClr val="accent3"/>
                </a:solidFill>
              </a:rPr>
              <a:t>Example: </a:t>
            </a:r>
            <a:r>
              <a:rPr lang="en-US" sz="600" i="1" dirty="0">
                <a:solidFill>
                  <a:schemeClr val="accent3"/>
                </a:solidFill>
              </a:rPr>
              <a:t>Comparison of transcriptome 70 and </a:t>
            </a:r>
            <a:br>
              <a:rPr lang="en-US" sz="600" i="1" dirty="0">
                <a:solidFill>
                  <a:schemeClr val="accent3"/>
                </a:solidFill>
              </a:rPr>
            </a:br>
            <a:r>
              <a:rPr lang="en-US" sz="600" i="1" dirty="0">
                <a:solidFill>
                  <a:schemeClr val="accent3"/>
                </a:solidFill>
              </a:rPr>
              <a:t>80c (</a:t>
            </a:r>
            <a:r>
              <a:rPr lang="en-US" sz="600" i="1" dirty="0" err="1">
                <a:solidFill>
                  <a:schemeClr val="accent3"/>
                </a:solidFill>
              </a:rPr>
              <a:t>Cdna</a:t>
            </a:r>
            <a:r>
              <a:rPr lang="en-US" sz="600" i="1" dirty="0">
                <a:solidFill>
                  <a:schemeClr val="accent3"/>
                </a:solidFill>
              </a:rPr>
              <a:t> microarray)</a:t>
            </a:r>
            <a:endParaRPr lang="en-US" sz="700" i="1" dirty="0">
              <a:solidFill>
                <a:schemeClr val="accent3"/>
              </a:solidFill>
              <a:cs typeface="AdihausDIN Cn" panose="020B0506020101010102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gray">
          <a:xfrm>
            <a:off x="287734" y="250257"/>
            <a:ext cx="7775179" cy="575468"/>
          </a:xfrm>
        </p:spPr>
        <p:txBody>
          <a:bodyPr/>
          <a:lstStyle/>
          <a:p>
            <a:r>
              <a:rPr lang="de-DE" dirty="0"/>
              <a:t>DATA TYPES &amp; META DATA</a:t>
            </a:r>
            <a:endParaRPr lang="en-US" dirty="0">
              <a:latin typeface="adineue TEXT Light" panose="020B03030202010600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30CF272-826A-4476-944B-6187D5B4F04A}"/>
              </a:ext>
            </a:extLst>
          </p:cNvPr>
          <p:cNvSpPr/>
          <p:nvPr/>
        </p:nvSpPr>
        <p:spPr bwMode="gray">
          <a:xfrm>
            <a:off x="3011922" y="3187330"/>
            <a:ext cx="175119" cy="175119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900" b="1" dirty="0">
                <a:solidFill>
                  <a:schemeClr val="bg1"/>
                </a:solidFill>
                <a:cs typeface="AdihausDIN Cn" panose="020B0506020101010102" pitchFamily="34" charset="0"/>
              </a:rPr>
              <a:t>A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DA3AA96-B000-41FB-8F89-11E8BCEA279D}"/>
              </a:ext>
            </a:extLst>
          </p:cNvPr>
          <p:cNvSpPr/>
          <p:nvPr/>
        </p:nvSpPr>
        <p:spPr bwMode="gray">
          <a:xfrm>
            <a:off x="3251881" y="3187330"/>
            <a:ext cx="175119" cy="175119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900" b="1" dirty="0">
                <a:solidFill>
                  <a:schemeClr val="bg1"/>
                </a:solidFill>
                <a:cs typeface="AdihausDIN Cn" panose="020B0506020101010102" pitchFamily="34" charset="0"/>
              </a:rPr>
              <a:t>A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0DEF5D7-0C91-4D7B-8F34-87564850C298}"/>
              </a:ext>
            </a:extLst>
          </p:cNvPr>
          <p:cNvSpPr/>
          <p:nvPr/>
        </p:nvSpPr>
        <p:spPr bwMode="gray">
          <a:xfrm>
            <a:off x="3491840" y="3187330"/>
            <a:ext cx="175119" cy="175119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900" b="1" dirty="0">
                <a:solidFill>
                  <a:schemeClr val="bg1"/>
                </a:solidFill>
                <a:cs typeface="AdihausDIN Cn" panose="020B0506020101010102" pitchFamily="34" charset="0"/>
              </a:rPr>
              <a:t>A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152101C-C1D2-471B-B6E3-E6B6DA541B7E}"/>
              </a:ext>
            </a:extLst>
          </p:cNvPr>
          <p:cNvSpPr/>
          <p:nvPr/>
        </p:nvSpPr>
        <p:spPr bwMode="gray">
          <a:xfrm>
            <a:off x="3833305" y="3187330"/>
            <a:ext cx="175119" cy="175119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900" b="1" dirty="0">
                <a:solidFill>
                  <a:schemeClr val="bg1"/>
                </a:solidFill>
                <a:cs typeface="AdihausDIN Cn" panose="020B0506020101010102" pitchFamily="34" charset="0"/>
              </a:rPr>
              <a:t>A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59BD06F-0A79-40A1-B70C-29E7FAB0B090}"/>
              </a:ext>
            </a:extLst>
          </p:cNvPr>
          <p:cNvSpPr/>
          <p:nvPr/>
        </p:nvSpPr>
        <p:spPr bwMode="gray">
          <a:xfrm>
            <a:off x="4073264" y="3187330"/>
            <a:ext cx="175119" cy="175119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900" b="1" dirty="0">
                <a:solidFill>
                  <a:schemeClr val="bg1"/>
                </a:solidFill>
                <a:cs typeface="AdihausDIN Cn" panose="020B0506020101010102" pitchFamily="34" charset="0"/>
              </a:rPr>
              <a:t>A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45092BA-9323-4D35-A5BD-DAB98CA41864}"/>
              </a:ext>
            </a:extLst>
          </p:cNvPr>
          <p:cNvSpPr/>
          <p:nvPr/>
        </p:nvSpPr>
        <p:spPr bwMode="gray">
          <a:xfrm>
            <a:off x="2666071" y="3188587"/>
            <a:ext cx="175119" cy="175119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900" b="1" dirty="0">
                <a:solidFill>
                  <a:schemeClr val="bg1"/>
                </a:solidFill>
                <a:cs typeface="AdihausDIN Cn" panose="020B0506020101010102" pitchFamily="34" charset="0"/>
              </a:rPr>
              <a:t>A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296107B-F6B0-45F0-B16C-B555E836E43B}"/>
              </a:ext>
            </a:extLst>
          </p:cNvPr>
          <p:cNvSpPr/>
          <p:nvPr/>
        </p:nvSpPr>
        <p:spPr bwMode="gray">
          <a:xfrm>
            <a:off x="3950583" y="2334048"/>
            <a:ext cx="175119" cy="175119"/>
          </a:xfrm>
          <a:prstGeom prst="rect">
            <a:avLst/>
          </a:prstGeom>
          <a:solidFill>
            <a:srgbClr val="1E82C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900" b="1" dirty="0">
                <a:solidFill>
                  <a:schemeClr val="bg1"/>
                </a:solidFill>
                <a:cs typeface="AdihausDIN Cn" panose="020B0506020101010102" pitchFamily="34" charset="0"/>
              </a:rPr>
              <a:t>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B004787-01DD-498E-8E97-272138604813}"/>
              </a:ext>
            </a:extLst>
          </p:cNvPr>
          <p:cNvSpPr/>
          <p:nvPr/>
        </p:nvSpPr>
        <p:spPr bwMode="gray">
          <a:xfrm>
            <a:off x="3251881" y="2334048"/>
            <a:ext cx="175119" cy="175119"/>
          </a:xfrm>
          <a:prstGeom prst="rect">
            <a:avLst/>
          </a:prstGeom>
          <a:solidFill>
            <a:srgbClr val="1E82C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900" b="1" dirty="0">
                <a:solidFill>
                  <a:schemeClr val="bg1"/>
                </a:solidFill>
                <a:cs typeface="AdihausDIN Cn" panose="020B0506020101010102" pitchFamily="34" charset="0"/>
              </a:rPr>
              <a:t>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493B034-03C1-4263-B85C-FF36C9AB95A1}"/>
              </a:ext>
            </a:extLst>
          </p:cNvPr>
          <p:cNvSpPr/>
          <p:nvPr/>
        </p:nvSpPr>
        <p:spPr bwMode="gray">
          <a:xfrm>
            <a:off x="2666071" y="2334048"/>
            <a:ext cx="175119" cy="175119"/>
          </a:xfrm>
          <a:prstGeom prst="rect">
            <a:avLst/>
          </a:prstGeom>
          <a:solidFill>
            <a:srgbClr val="1E82C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900" b="1" dirty="0">
                <a:solidFill>
                  <a:schemeClr val="bg1"/>
                </a:solidFill>
                <a:cs typeface="AdihausDIN Cn" panose="020B0506020101010102" pitchFamily="34" charset="0"/>
              </a:rPr>
              <a:t>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ED9C78F-65F5-4F04-A286-B85DFC68BB0B}"/>
              </a:ext>
            </a:extLst>
          </p:cNvPr>
          <p:cNvSpPr/>
          <p:nvPr/>
        </p:nvSpPr>
        <p:spPr bwMode="gray">
          <a:xfrm>
            <a:off x="3308327" y="1480766"/>
            <a:ext cx="175119" cy="175119"/>
          </a:xfrm>
          <a:prstGeom prst="rect">
            <a:avLst/>
          </a:prstGeom>
          <a:solidFill>
            <a:srgbClr val="009900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900" b="1" dirty="0">
                <a:solidFill>
                  <a:schemeClr val="bg1"/>
                </a:solidFill>
                <a:cs typeface="AdihausDIN Cn" panose="020B0506020101010102" pitchFamily="34" charset="0"/>
              </a:rPr>
              <a:t>I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CB10DA2-2D4E-4498-BD80-8552257FE3E9}"/>
              </a:ext>
            </a:extLst>
          </p:cNvPr>
          <p:cNvCxnSpPr>
            <a:stCxn id="27" idx="0"/>
            <a:endCxn id="28" idx="2"/>
          </p:cNvCxnSpPr>
          <p:nvPr/>
        </p:nvCxnSpPr>
        <p:spPr>
          <a:xfrm flipV="1">
            <a:off x="2753631" y="1655885"/>
            <a:ext cx="642256" cy="678163"/>
          </a:xfrm>
          <a:prstGeom prst="line">
            <a:avLst/>
          </a:prstGeom>
          <a:ln w="6350" cmpd="sng">
            <a:solidFill>
              <a:schemeClr val="tx1"/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7FF78251-DBFC-455C-92E2-9FB3FDB69C7E}"/>
              </a:ext>
            </a:extLst>
          </p:cNvPr>
          <p:cNvCxnSpPr>
            <a:cxnSpLocks/>
            <a:stCxn id="26" idx="0"/>
            <a:endCxn id="28" idx="2"/>
          </p:cNvCxnSpPr>
          <p:nvPr/>
        </p:nvCxnSpPr>
        <p:spPr>
          <a:xfrm flipV="1">
            <a:off x="3339441" y="1655885"/>
            <a:ext cx="56446" cy="678163"/>
          </a:xfrm>
          <a:prstGeom prst="line">
            <a:avLst/>
          </a:prstGeom>
          <a:ln w="6350" cmpd="sng">
            <a:solidFill>
              <a:schemeClr val="tx1"/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200B523-4C61-475F-A2BA-E824BAF0DDE3}"/>
              </a:ext>
            </a:extLst>
          </p:cNvPr>
          <p:cNvCxnSpPr>
            <a:cxnSpLocks/>
            <a:stCxn id="25" idx="0"/>
            <a:endCxn id="28" idx="2"/>
          </p:cNvCxnSpPr>
          <p:nvPr/>
        </p:nvCxnSpPr>
        <p:spPr>
          <a:xfrm flipH="1" flipV="1">
            <a:off x="3395887" y="1655885"/>
            <a:ext cx="642256" cy="678163"/>
          </a:xfrm>
          <a:prstGeom prst="line">
            <a:avLst/>
          </a:prstGeom>
          <a:ln w="6350" cmpd="sng">
            <a:solidFill>
              <a:schemeClr val="tx1"/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90DAF4EC-1B0D-44F5-8F84-0C00CDD2936E}"/>
              </a:ext>
            </a:extLst>
          </p:cNvPr>
          <p:cNvCxnSpPr>
            <a:cxnSpLocks/>
            <a:stCxn id="11" idx="0"/>
            <a:endCxn id="26" idx="2"/>
          </p:cNvCxnSpPr>
          <p:nvPr/>
        </p:nvCxnSpPr>
        <p:spPr>
          <a:xfrm flipV="1">
            <a:off x="3099482" y="2509167"/>
            <a:ext cx="239959" cy="678163"/>
          </a:xfrm>
          <a:prstGeom prst="line">
            <a:avLst/>
          </a:prstGeom>
          <a:ln w="6350" cmpd="sng">
            <a:solidFill>
              <a:schemeClr val="tx1"/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523FCC7F-E72E-454A-B6FD-0240F44E9A8B}"/>
              </a:ext>
            </a:extLst>
          </p:cNvPr>
          <p:cNvCxnSpPr>
            <a:cxnSpLocks/>
            <a:stCxn id="17" idx="0"/>
            <a:endCxn id="26" idx="2"/>
          </p:cNvCxnSpPr>
          <p:nvPr/>
        </p:nvCxnSpPr>
        <p:spPr>
          <a:xfrm flipV="1">
            <a:off x="3339441" y="2509167"/>
            <a:ext cx="0" cy="678163"/>
          </a:xfrm>
          <a:prstGeom prst="line">
            <a:avLst/>
          </a:prstGeom>
          <a:ln w="6350" cmpd="sng">
            <a:solidFill>
              <a:schemeClr val="tx1"/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9C636B7-5662-4710-AAA2-C20951F40569}"/>
              </a:ext>
            </a:extLst>
          </p:cNvPr>
          <p:cNvCxnSpPr>
            <a:cxnSpLocks/>
            <a:stCxn id="18" idx="0"/>
            <a:endCxn id="26" idx="2"/>
          </p:cNvCxnSpPr>
          <p:nvPr/>
        </p:nvCxnSpPr>
        <p:spPr>
          <a:xfrm flipH="1" flipV="1">
            <a:off x="3339441" y="2509167"/>
            <a:ext cx="239959" cy="678163"/>
          </a:xfrm>
          <a:prstGeom prst="line">
            <a:avLst/>
          </a:prstGeom>
          <a:ln w="6350" cmpd="sng">
            <a:solidFill>
              <a:schemeClr val="tx1"/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2A64674F-CBAE-4BA8-9A41-0E55F42070E4}"/>
              </a:ext>
            </a:extLst>
          </p:cNvPr>
          <p:cNvCxnSpPr>
            <a:cxnSpLocks/>
            <a:stCxn id="20" idx="0"/>
            <a:endCxn id="25" idx="2"/>
          </p:cNvCxnSpPr>
          <p:nvPr/>
        </p:nvCxnSpPr>
        <p:spPr>
          <a:xfrm flipH="1" flipV="1">
            <a:off x="4038143" y="2509167"/>
            <a:ext cx="122681" cy="678163"/>
          </a:xfrm>
          <a:prstGeom prst="line">
            <a:avLst/>
          </a:prstGeom>
          <a:ln w="6350" cmpd="sng">
            <a:solidFill>
              <a:schemeClr val="tx1"/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88FBDE5F-4963-4095-A7FE-4EE27A5A51FB}"/>
              </a:ext>
            </a:extLst>
          </p:cNvPr>
          <p:cNvCxnSpPr>
            <a:cxnSpLocks/>
            <a:stCxn id="19" idx="0"/>
            <a:endCxn id="25" idx="2"/>
          </p:cNvCxnSpPr>
          <p:nvPr/>
        </p:nvCxnSpPr>
        <p:spPr>
          <a:xfrm flipV="1">
            <a:off x="3920865" y="2509167"/>
            <a:ext cx="117278" cy="678163"/>
          </a:xfrm>
          <a:prstGeom prst="line">
            <a:avLst/>
          </a:prstGeom>
          <a:ln w="6350" cmpd="sng">
            <a:solidFill>
              <a:schemeClr val="tx1"/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38E72BA5-B978-48B1-968F-AC88BFAB23E9}"/>
              </a:ext>
            </a:extLst>
          </p:cNvPr>
          <p:cNvCxnSpPr>
            <a:cxnSpLocks/>
            <a:stCxn id="24" idx="0"/>
            <a:endCxn id="27" idx="2"/>
          </p:cNvCxnSpPr>
          <p:nvPr/>
        </p:nvCxnSpPr>
        <p:spPr>
          <a:xfrm flipV="1">
            <a:off x="2753631" y="2509167"/>
            <a:ext cx="0" cy="679420"/>
          </a:xfrm>
          <a:prstGeom prst="line">
            <a:avLst/>
          </a:prstGeom>
          <a:ln w="6350" cmpd="sng">
            <a:solidFill>
              <a:schemeClr val="tx1"/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2" name="Rectangle 61">
            <a:extLst>
              <a:ext uri="{FF2B5EF4-FFF2-40B4-BE49-F238E27FC236}">
                <a16:creationId xmlns:a16="http://schemas.microsoft.com/office/drawing/2014/main" id="{9FB9649E-7D51-4561-90A7-1A3FFCD38E26}"/>
              </a:ext>
            </a:extLst>
          </p:cNvPr>
          <p:cNvSpPr/>
          <p:nvPr/>
        </p:nvSpPr>
        <p:spPr bwMode="gray">
          <a:xfrm>
            <a:off x="2492846" y="937477"/>
            <a:ext cx="1893024" cy="2566128"/>
          </a:xfrm>
          <a:prstGeom prst="rect">
            <a:avLst/>
          </a:prstGeom>
          <a:noFill/>
          <a:ln w="6350" cap="sq">
            <a:solidFill>
              <a:schemeClr val="tx1"/>
            </a:solidFill>
            <a:prstDash val="dash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000" b="1" dirty="0">
                <a:solidFill>
                  <a:schemeClr val="tx1"/>
                </a:solidFill>
                <a:cs typeface="AdihausDIN Cn" panose="020B0506020101010102" pitchFamily="34" charset="0"/>
              </a:rPr>
              <a:t>PROJECT #1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CF62C709-17CF-4414-8CB8-5C5013742C9B}"/>
              </a:ext>
            </a:extLst>
          </p:cNvPr>
          <p:cNvSpPr/>
          <p:nvPr/>
        </p:nvSpPr>
        <p:spPr bwMode="gray">
          <a:xfrm>
            <a:off x="4992506" y="3187330"/>
            <a:ext cx="175119" cy="175119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900" b="1" dirty="0">
                <a:solidFill>
                  <a:schemeClr val="bg1"/>
                </a:solidFill>
                <a:cs typeface="AdihausDIN Cn" panose="020B0506020101010102" pitchFamily="34" charset="0"/>
              </a:rPr>
              <a:t>A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3C0E510B-5D48-497D-B838-2479C7213F6C}"/>
              </a:ext>
            </a:extLst>
          </p:cNvPr>
          <p:cNvSpPr/>
          <p:nvPr/>
        </p:nvSpPr>
        <p:spPr bwMode="gray">
          <a:xfrm>
            <a:off x="5232465" y="3187330"/>
            <a:ext cx="175119" cy="175119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900" b="1" dirty="0">
                <a:solidFill>
                  <a:schemeClr val="bg1"/>
                </a:solidFill>
                <a:cs typeface="AdihausDIN Cn" panose="020B0506020101010102" pitchFamily="34" charset="0"/>
              </a:rPr>
              <a:t>A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6137254B-5C9C-4444-B635-0B6B7DFE3018}"/>
              </a:ext>
            </a:extLst>
          </p:cNvPr>
          <p:cNvSpPr/>
          <p:nvPr/>
        </p:nvSpPr>
        <p:spPr bwMode="gray">
          <a:xfrm>
            <a:off x="5472424" y="3187330"/>
            <a:ext cx="175119" cy="175119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900" b="1" dirty="0">
                <a:solidFill>
                  <a:schemeClr val="bg1"/>
                </a:solidFill>
                <a:cs typeface="AdihausDIN Cn" panose="020B0506020101010102" pitchFamily="34" charset="0"/>
              </a:rPr>
              <a:t>A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CCEAA736-89CD-43A3-9EEF-207A79AEC1EA}"/>
              </a:ext>
            </a:extLst>
          </p:cNvPr>
          <p:cNvSpPr/>
          <p:nvPr/>
        </p:nvSpPr>
        <p:spPr bwMode="gray">
          <a:xfrm>
            <a:off x="5813889" y="3187330"/>
            <a:ext cx="175119" cy="175119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900" b="1" dirty="0">
                <a:solidFill>
                  <a:schemeClr val="bg1"/>
                </a:solidFill>
                <a:cs typeface="AdihausDIN Cn" panose="020B0506020101010102" pitchFamily="34" charset="0"/>
              </a:rPr>
              <a:t>A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6ED36B0C-731D-4ADB-93C5-005F89AF56F7}"/>
              </a:ext>
            </a:extLst>
          </p:cNvPr>
          <p:cNvSpPr/>
          <p:nvPr/>
        </p:nvSpPr>
        <p:spPr bwMode="gray">
          <a:xfrm>
            <a:off x="6053848" y="3187330"/>
            <a:ext cx="175119" cy="175119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900" b="1" dirty="0">
                <a:solidFill>
                  <a:schemeClr val="bg1"/>
                </a:solidFill>
                <a:cs typeface="AdihausDIN Cn" panose="020B0506020101010102" pitchFamily="34" charset="0"/>
              </a:rPr>
              <a:t>A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1AFC750F-9154-4642-B44B-89061033E066}"/>
              </a:ext>
            </a:extLst>
          </p:cNvPr>
          <p:cNvSpPr/>
          <p:nvPr/>
        </p:nvSpPr>
        <p:spPr bwMode="gray">
          <a:xfrm>
            <a:off x="4646655" y="3188587"/>
            <a:ext cx="175119" cy="175119"/>
          </a:xfrm>
          <a:prstGeom prst="rect">
            <a:avLst/>
          </a:prstGeom>
          <a:solidFill>
            <a:schemeClr val="accent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900" b="1" dirty="0">
                <a:solidFill>
                  <a:schemeClr val="bg1"/>
                </a:solidFill>
                <a:cs typeface="AdihausDIN Cn" panose="020B0506020101010102" pitchFamily="34" charset="0"/>
              </a:rPr>
              <a:t>A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0A17B0C2-7D2D-4388-945B-A4883887D6CE}"/>
              </a:ext>
            </a:extLst>
          </p:cNvPr>
          <p:cNvSpPr/>
          <p:nvPr/>
        </p:nvSpPr>
        <p:spPr bwMode="gray">
          <a:xfrm>
            <a:off x="5931167" y="2334048"/>
            <a:ext cx="175119" cy="175119"/>
          </a:xfrm>
          <a:prstGeom prst="rect">
            <a:avLst/>
          </a:prstGeom>
          <a:solidFill>
            <a:srgbClr val="1E82C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900" b="1" dirty="0">
                <a:solidFill>
                  <a:schemeClr val="bg1"/>
                </a:solidFill>
                <a:cs typeface="AdihausDIN Cn" panose="020B0506020101010102" pitchFamily="34" charset="0"/>
              </a:rPr>
              <a:t>S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78CB0B70-81D7-4F5A-8EBB-557AFE3B453E}"/>
              </a:ext>
            </a:extLst>
          </p:cNvPr>
          <p:cNvSpPr/>
          <p:nvPr/>
        </p:nvSpPr>
        <p:spPr bwMode="gray">
          <a:xfrm>
            <a:off x="5232465" y="2334048"/>
            <a:ext cx="175119" cy="175119"/>
          </a:xfrm>
          <a:prstGeom prst="rect">
            <a:avLst/>
          </a:prstGeom>
          <a:solidFill>
            <a:srgbClr val="1E82C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900" b="1" dirty="0">
                <a:solidFill>
                  <a:schemeClr val="bg1"/>
                </a:solidFill>
                <a:cs typeface="AdihausDIN Cn" panose="020B0506020101010102" pitchFamily="34" charset="0"/>
              </a:rPr>
              <a:t>S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493AAF4B-CB60-43E6-AC69-FD327474A873}"/>
              </a:ext>
            </a:extLst>
          </p:cNvPr>
          <p:cNvSpPr/>
          <p:nvPr/>
        </p:nvSpPr>
        <p:spPr bwMode="gray">
          <a:xfrm>
            <a:off x="4646655" y="2334048"/>
            <a:ext cx="175119" cy="175119"/>
          </a:xfrm>
          <a:prstGeom prst="rect">
            <a:avLst/>
          </a:prstGeom>
          <a:solidFill>
            <a:srgbClr val="1E82C3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900" b="1" dirty="0">
                <a:solidFill>
                  <a:schemeClr val="bg1"/>
                </a:solidFill>
                <a:cs typeface="AdihausDIN Cn" panose="020B0506020101010102" pitchFamily="34" charset="0"/>
              </a:rPr>
              <a:t>S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9BD2BA15-7875-4DF9-AB2A-50A35C9E5083}"/>
              </a:ext>
            </a:extLst>
          </p:cNvPr>
          <p:cNvSpPr/>
          <p:nvPr/>
        </p:nvSpPr>
        <p:spPr bwMode="gray">
          <a:xfrm>
            <a:off x="5288911" y="1480766"/>
            <a:ext cx="175119" cy="175119"/>
          </a:xfrm>
          <a:prstGeom prst="rect">
            <a:avLst/>
          </a:prstGeom>
          <a:solidFill>
            <a:srgbClr val="009900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900" b="1" dirty="0">
                <a:solidFill>
                  <a:schemeClr val="bg1"/>
                </a:solidFill>
                <a:cs typeface="AdihausDIN Cn" panose="020B0506020101010102" pitchFamily="34" charset="0"/>
              </a:rPr>
              <a:t>I</a:t>
            </a: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A72F4000-E3F4-4426-8592-4B957ABF6816}"/>
              </a:ext>
            </a:extLst>
          </p:cNvPr>
          <p:cNvCxnSpPr>
            <a:stCxn id="71" idx="0"/>
            <a:endCxn id="72" idx="2"/>
          </p:cNvCxnSpPr>
          <p:nvPr/>
        </p:nvCxnSpPr>
        <p:spPr>
          <a:xfrm flipV="1">
            <a:off x="4734215" y="1655885"/>
            <a:ext cx="642256" cy="678163"/>
          </a:xfrm>
          <a:prstGeom prst="line">
            <a:avLst/>
          </a:prstGeom>
          <a:ln w="6350" cmpd="sng">
            <a:solidFill>
              <a:schemeClr val="tx1"/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85598460-91D9-4E12-8480-015B6D321B5E}"/>
              </a:ext>
            </a:extLst>
          </p:cNvPr>
          <p:cNvCxnSpPr>
            <a:cxnSpLocks/>
            <a:stCxn id="70" idx="0"/>
            <a:endCxn id="72" idx="2"/>
          </p:cNvCxnSpPr>
          <p:nvPr/>
        </p:nvCxnSpPr>
        <p:spPr>
          <a:xfrm flipV="1">
            <a:off x="5320025" y="1655885"/>
            <a:ext cx="56446" cy="678163"/>
          </a:xfrm>
          <a:prstGeom prst="line">
            <a:avLst/>
          </a:prstGeom>
          <a:ln w="6350" cmpd="sng">
            <a:solidFill>
              <a:schemeClr val="tx1"/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585956B3-E81D-4CFF-83E0-D910DC705335}"/>
              </a:ext>
            </a:extLst>
          </p:cNvPr>
          <p:cNvCxnSpPr>
            <a:cxnSpLocks/>
            <a:stCxn id="69" idx="0"/>
            <a:endCxn id="72" idx="2"/>
          </p:cNvCxnSpPr>
          <p:nvPr/>
        </p:nvCxnSpPr>
        <p:spPr>
          <a:xfrm flipH="1" flipV="1">
            <a:off x="5376471" y="1655885"/>
            <a:ext cx="642256" cy="678163"/>
          </a:xfrm>
          <a:prstGeom prst="line">
            <a:avLst/>
          </a:prstGeom>
          <a:ln w="6350" cmpd="sng">
            <a:solidFill>
              <a:schemeClr val="tx1"/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9F93EB30-845E-46F4-8CDE-EC2B21E8690A}"/>
              </a:ext>
            </a:extLst>
          </p:cNvPr>
          <p:cNvCxnSpPr>
            <a:cxnSpLocks/>
            <a:stCxn id="63" idx="0"/>
            <a:endCxn id="70" idx="2"/>
          </p:cNvCxnSpPr>
          <p:nvPr/>
        </p:nvCxnSpPr>
        <p:spPr>
          <a:xfrm flipV="1">
            <a:off x="5080066" y="2509167"/>
            <a:ext cx="239959" cy="678163"/>
          </a:xfrm>
          <a:prstGeom prst="line">
            <a:avLst/>
          </a:prstGeom>
          <a:ln w="6350" cmpd="sng">
            <a:solidFill>
              <a:schemeClr val="tx1"/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D205E96C-531F-4843-9B16-F2E167FC1CCE}"/>
              </a:ext>
            </a:extLst>
          </p:cNvPr>
          <p:cNvCxnSpPr>
            <a:cxnSpLocks/>
            <a:stCxn id="64" idx="0"/>
            <a:endCxn id="70" idx="2"/>
          </p:cNvCxnSpPr>
          <p:nvPr/>
        </p:nvCxnSpPr>
        <p:spPr>
          <a:xfrm flipV="1">
            <a:off x="5320025" y="2509167"/>
            <a:ext cx="0" cy="678163"/>
          </a:xfrm>
          <a:prstGeom prst="line">
            <a:avLst/>
          </a:prstGeom>
          <a:ln w="6350" cmpd="sng">
            <a:solidFill>
              <a:schemeClr val="tx1"/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0F86EC88-8975-4D8C-9B3A-FBF490A475B2}"/>
              </a:ext>
            </a:extLst>
          </p:cNvPr>
          <p:cNvCxnSpPr>
            <a:cxnSpLocks/>
            <a:stCxn id="65" idx="0"/>
            <a:endCxn id="70" idx="2"/>
          </p:cNvCxnSpPr>
          <p:nvPr/>
        </p:nvCxnSpPr>
        <p:spPr>
          <a:xfrm flipH="1" flipV="1">
            <a:off x="5320025" y="2509167"/>
            <a:ext cx="239959" cy="678163"/>
          </a:xfrm>
          <a:prstGeom prst="line">
            <a:avLst/>
          </a:prstGeom>
          <a:ln w="6350" cmpd="sng">
            <a:solidFill>
              <a:schemeClr val="tx1"/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217E901D-13C7-4CE9-B834-4E8634BB8FFE}"/>
              </a:ext>
            </a:extLst>
          </p:cNvPr>
          <p:cNvCxnSpPr>
            <a:cxnSpLocks/>
            <a:stCxn id="67" idx="0"/>
            <a:endCxn id="69" idx="2"/>
          </p:cNvCxnSpPr>
          <p:nvPr/>
        </p:nvCxnSpPr>
        <p:spPr>
          <a:xfrm flipH="1" flipV="1">
            <a:off x="6018727" y="2509167"/>
            <a:ext cx="122681" cy="678163"/>
          </a:xfrm>
          <a:prstGeom prst="line">
            <a:avLst/>
          </a:prstGeom>
          <a:ln w="6350" cmpd="sng">
            <a:solidFill>
              <a:schemeClr val="tx1"/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F4AD3320-8274-406F-8CA5-C719267166B0}"/>
              </a:ext>
            </a:extLst>
          </p:cNvPr>
          <p:cNvCxnSpPr>
            <a:cxnSpLocks/>
            <a:stCxn id="66" idx="0"/>
            <a:endCxn id="69" idx="2"/>
          </p:cNvCxnSpPr>
          <p:nvPr/>
        </p:nvCxnSpPr>
        <p:spPr>
          <a:xfrm flipV="1">
            <a:off x="5901449" y="2509167"/>
            <a:ext cx="117278" cy="678163"/>
          </a:xfrm>
          <a:prstGeom prst="line">
            <a:avLst/>
          </a:prstGeom>
          <a:ln w="6350" cmpd="sng">
            <a:solidFill>
              <a:schemeClr val="tx1"/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9DFB52B6-8EDB-417D-85B8-1F3C3175CB8F}"/>
              </a:ext>
            </a:extLst>
          </p:cNvPr>
          <p:cNvCxnSpPr>
            <a:cxnSpLocks/>
            <a:stCxn id="68" idx="0"/>
            <a:endCxn id="71" idx="2"/>
          </p:cNvCxnSpPr>
          <p:nvPr/>
        </p:nvCxnSpPr>
        <p:spPr>
          <a:xfrm flipV="1">
            <a:off x="4734215" y="2509167"/>
            <a:ext cx="0" cy="679420"/>
          </a:xfrm>
          <a:prstGeom prst="line">
            <a:avLst/>
          </a:prstGeom>
          <a:ln w="6350" cmpd="sng">
            <a:solidFill>
              <a:schemeClr val="tx1"/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2" name="Rectangle 81">
            <a:extLst>
              <a:ext uri="{FF2B5EF4-FFF2-40B4-BE49-F238E27FC236}">
                <a16:creationId xmlns:a16="http://schemas.microsoft.com/office/drawing/2014/main" id="{C2A28CA2-D88B-4289-9439-35EAAB07D1F7}"/>
              </a:ext>
            </a:extLst>
          </p:cNvPr>
          <p:cNvSpPr/>
          <p:nvPr/>
        </p:nvSpPr>
        <p:spPr bwMode="gray">
          <a:xfrm>
            <a:off x="4473430" y="937477"/>
            <a:ext cx="1893024" cy="2566128"/>
          </a:xfrm>
          <a:prstGeom prst="rect">
            <a:avLst/>
          </a:prstGeom>
          <a:noFill/>
          <a:ln w="6350" cap="sq">
            <a:solidFill>
              <a:schemeClr val="tx1"/>
            </a:solidFill>
            <a:prstDash val="dash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000" b="1" dirty="0">
                <a:solidFill>
                  <a:schemeClr val="tx1"/>
                </a:solidFill>
                <a:cs typeface="AdihausDIN Cn" panose="020B0506020101010102" pitchFamily="34" charset="0"/>
              </a:rPr>
              <a:t>PROJECT #2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145E3291-7D6A-4DD9-BC6F-633EA6E6BD7D}"/>
              </a:ext>
            </a:extLst>
          </p:cNvPr>
          <p:cNvSpPr txBox="1"/>
          <p:nvPr/>
        </p:nvSpPr>
        <p:spPr bwMode="gray">
          <a:xfrm>
            <a:off x="6459666" y="930122"/>
            <a:ext cx="521694" cy="2667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sz="1200" dirty="0">
                <a:latin typeface="+mn-lt"/>
              </a:rPr>
              <a:t>…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8CA51DF6-D5F4-4558-9E2B-15FDE8F854A9}"/>
              </a:ext>
            </a:extLst>
          </p:cNvPr>
          <p:cNvSpPr/>
          <p:nvPr/>
        </p:nvSpPr>
        <p:spPr bwMode="gray">
          <a:xfrm>
            <a:off x="405226" y="703580"/>
            <a:ext cx="6301741" cy="2994660"/>
          </a:xfrm>
          <a:prstGeom prst="rect">
            <a:avLst/>
          </a:prstGeom>
          <a:noFill/>
          <a:ln w="6350" cap="sq">
            <a:solidFill>
              <a:schemeClr val="tx1"/>
            </a:solidFill>
            <a:prstDash val="dash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000" b="1" dirty="0">
                <a:solidFill>
                  <a:schemeClr val="tx1"/>
                </a:solidFill>
                <a:cs typeface="AdihausDIN Cn" panose="020B0506020101010102" pitchFamily="34" charset="0"/>
              </a:rPr>
              <a:t>DMP (SEEKS)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BBA47C35-5E61-4B76-AF16-B1CB3FC8145C}"/>
              </a:ext>
            </a:extLst>
          </p:cNvPr>
          <p:cNvSpPr/>
          <p:nvPr/>
        </p:nvSpPr>
        <p:spPr bwMode="gray">
          <a:xfrm>
            <a:off x="405227" y="1198249"/>
            <a:ext cx="6301739" cy="705592"/>
          </a:xfrm>
          <a:prstGeom prst="rect">
            <a:avLst/>
          </a:prstGeom>
          <a:solidFill>
            <a:srgbClr val="009900">
              <a:alpha val="10196"/>
            </a:srgbClr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900" b="1" dirty="0">
                <a:solidFill>
                  <a:srgbClr val="009900"/>
                </a:solidFill>
                <a:cs typeface="AdihausDIN Cn" panose="020B0506020101010102" pitchFamily="34" charset="0"/>
              </a:rPr>
              <a:t>INVESTIGATION</a:t>
            </a:r>
            <a:br>
              <a:rPr lang="en-US" sz="900" b="1" dirty="0">
                <a:solidFill>
                  <a:srgbClr val="009900"/>
                </a:solidFill>
                <a:cs typeface="AdihausDIN Cn" panose="020B0506020101010102" pitchFamily="34" charset="0"/>
              </a:rPr>
            </a:br>
            <a:r>
              <a:rPr lang="en-US" sz="700" dirty="0">
                <a:solidFill>
                  <a:srgbClr val="009900"/>
                </a:solidFill>
              </a:rPr>
              <a:t>High-level description of </a:t>
            </a:r>
            <a:br>
              <a:rPr lang="en-US" sz="700" dirty="0">
                <a:solidFill>
                  <a:srgbClr val="009900"/>
                </a:solidFill>
              </a:rPr>
            </a:br>
            <a:r>
              <a:rPr lang="en-US" sz="700" dirty="0">
                <a:solidFill>
                  <a:srgbClr val="009900"/>
                </a:solidFill>
              </a:rPr>
              <a:t>the overall area of research.</a:t>
            </a:r>
            <a:endParaRPr lang="en-US" sz="700" b="1" dirty="0">
              <a:solidFill>
                <a:srgbClr val="009900"/>
              </a:solidFill>
              <a:cs typeface="AdihausDIN Cn" panose="020B0506020101010102" pitchFamily="34" charset="0"/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600" b="1" i="1" dirty="0">
                <a:solidFill>
                  <a:srgbClr val="009900"/>
                </a:solidFill>
                <a:cs typeface="AdihausDIN Cn" panose="020B0506020101010102" pitchFamily="34" charset="0"/>
              </a:rPr>
              <a:t>Example: </a:t>
            </a:r>
            <a:r>
              <a:rPr lang="en-US" sz="600" i="1" dirty="0">
                <a:solidFill>
                  <a:srgbClr val="009900"/>
                </a:solidFill>
                <a:cs typeface="AdihausDIN Cn" panose="020B0506020101010102" pitchFamily="34" charset="0"/>
              </a:rPr>
              <a:t>Analysis of Carbon Metabolism of </a:t>
            </a:r>
            <a:br>
              <a:rPr lang="en-US" sz="600" i="1" dirty="0">
                <a:solidFill>
                  <a:srgbClr val="009900"/>
                </a:solidFill>
                <a:cs typeface="AdihausDIN Cn" panose="020B0506020101010102" pitchFamily="34" charset="0"/>
              </a:rPr>
            </a:br>
            <a:r>
              <a:rPr lang="en-US" sz="600" i="1" dirty="0" err="1">
                <a:solidFill>
                  <a:srgbClr val="009900"/>
                </a:solidFill>
                <a:cs typeface="AdihausDIN Cn" panose="020B0506020101010102" pitchFamily="34" charset="0"/>
              </a:rPr>
              <a:t>Sulfolobus</a:t>
            </a:r>
            <a:r>
              <a:rPr lang="en-US" sz="600" i="1" dirty="0">
                <a:solidFill>
                  <a:srgbClr val="009900"/>
                </a:solidFill>
                <a:cs typeface="AdihausDIN Cn" panose="020B0506020101010102" pitchFamily="34" charset="0"/>
              </a:rPr>
              <a:t> </a:t>
            </a:r>
            <a:r>
              <a:rPr lang="en-US" sz="600" i="1" dirty="0" err="1">
                <a:solidFill>
                  <a:srgbClr val="009900"/>
                </a:solidFill>
                <a:cs typeface="AdihausDIN Cn" panose="020B0506020101010102" pitchFamily="34" charset="0"/>
              </a:rPr>
              <a:t>solfataricus</a:t>
            </a:r>
            <a:r>
              <a:rPr lang="en-US" sz="600" i="1" dirty="0">
                <a:solidFill>
                  <a:srgbClr val="009900"/>
                </a:solidFill>
                <a:cs typeface="AdihausDIN Cn" panose="020B0506020101010102" pitchFamily="34" charset="0"/>
              </a:rPr>
              <a:t> under varying temperatures</a:t>
            </a:r>
            <a:endParaRPr lang="en-US" sz="700" i="1" dirty="0">
              <a:solidFill>
                <a:srgbClr val="009900"/>
              </a:solidFill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CB6BCCB7-5233-4117-972E-A0C0A073DC50}"/>
              </a:ext>
            </a:extLst>
          </p:cNvPr>
          <p:cNvSpPr/>
          <p:nvPr/>
        </p:nvSpPr>
        <p:spPr bwMode="gray">
          <a:xfrm>
            <a:off x="405227" y="2042799"/>
            <a:ext cx="6301740" cy="705592"/>
          </a:xfrm>
          <a:prstGeom prst="rect">
            <a:avLst/>
          </a:prstGeom>
          <a:solidFill>
            <a:srgbClr val="1E82C3">
              <a:alpha val="10196"/>
            </a:srgbClr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900" b="1" dirty="0">
                <a:solidFill>
                  <a:srgbClr val="1E82C3"/>
                </a:solidFill>
                <a:cs typeface="AdihausDIN Cn" panose="020B0506020101010102" pitchFamily="34" charset="0"/>
              </a:rPr>
              <a:t>STUDIY</a:t>
            </a:r>
            <a:br>
              <a:rPr lang="en-US" sz="1000" b="1" dirty="0">
                <a:solidFill>
                  <a:srgbClr val="1E82C3"/>
                </a:solidFill>
                <a:cs typeface="AdihausDIN Cn" panose="020B0506020101010102" pitchFamily="34" charset="0"/>
              </a:rPr>
            </a:br>
            <a:r>
              <a:rPr lang="en-US" sz="700" dirty="0">
                <a:solidFill>
                  <a:srgbClr val="1E82C3"/>
                </a:solidFill>
              </a:rPr>
              <a:t>Particular hypothesis, which you are </a:t>
            </a:r>
            <a:br>
              <a:rPr lang="en-US" sz="700" dirty="0">
                <a:solidFill>
                  <a:srgbClr val="1E82C3"/>
                </a:solidFill>
              </a:rPr>
            </a:br>
            <a:r>
              <a:rPr lang="en-US" sz="700" dirty="0">
                <a:solidFill>
                  <a:srgbClr val="1E82C3"/>
                </a:solidFill>
              </a:rPr>
              <a:t>planning to test in various ways</a:t>
            </a:r>
            <a:endParaRPr lang="en-US" sz="700" i="1" dirty="0">
              <a:solidFill>
                <a:srgbClr val="1E82C3"/>
              </a:soli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1" i="1" dirty="0">
                <a:solidFill>
                  <a:srgbClr val="1E82C3"/>
                </a:solidFill>
              </a:rPr>
              <a:t>Example: </a:t>
            </a:r>
            <a:r>
              <a:rPr lang="en-US" sz="600" i="1" dirty="0">
                <a:solidFill>
                  <a:srgbClr val="1E82C3"/>
                </a:solidFill>
              </a:rPr>
              <a:t>Comparison of </a:t>
            </a:r>
            <a:r>
              <a:rPr lang="en-US" sz="600" i="1" dirty="0" err="1">
                <a:solidFill>
                  <a:srgbClr val="1E82C3"/>
                </a:solidFill>
              </a:rPr>
              <a:t>Sulfolobus</a:t>
            </a:r>
            <a:r>
              <a:rPr lang="en-US" sz="600" i="1" dirty="0">
                <a:solidFill>
                  <a:srgbClr val="1E82C3"/>
                </a:solidFill>
              </a:rPr>
              <a:t> </a:t>
            </a:r>
            <a:r>
              <a:rPr lang="en-US" sz="600" i="1" dirty="0" err="1">
                <a:solidFill>
                  <a:srgbClr val="1E82C3"/>
                </a:solidFill>
              </a:rPr>
              <a:t>solfataricus</a:t>
            </a:r>
            <a:r>
              <a:rPr lang="en-US" sz="600" i="1" dirty="0">
                <a:solidFill>
                  <a:srgbClr val="1E82C3"/>
                </a:solidFill>
              </a:rPr>
              <a:t> </a:t>
            </a:r>
            <a:br>
              <a:rPr lang="en-US" sz="600" i="1" dirty="0">
                <a:solidFill>
                  <a:srgbClr val="1E82C3"/>
                </a:solidFill>
              </a:rPr>
            </a:br>
            <a:r>
              <a:rPr lang="en-US" sz="600" i="1" dirty="0">
                <a:solidFill>
                  <a:srgbClr val="1E82C3"/>
                </a:solidFill>
              </a:rPr>
              <a:t>grown at 70 and 80 degree</a:t>
            </a:r>
            <a:endParaRPr lang="en-US" sz="600" b="1" i="1" dirty="0">
              <a:solidFill>
                <a:srgbClr val="1E82C3"/>
              </a:solidFill>
              <a:cs typeface="AdihausDIN Cn" panose="020B0506020101010102" pitchFamily="34" charset="0"/>
            </a:endParaRPr>
          </a:p>
        </p:txBody>
      </p:sp>
      <p:sp>
        <p:nvSpPr>
          <p:cNvPr id="15363" name="Rectangle 15362">
            <a:extLst>
              <a:ext uri="{FF2B5EF4-FFF2-40B4-BE49-F238E27FC236}">
                <a16:creationId xmlns:a16="http://schemas.microsoft.com/office/drawing/2014/main" id="{D4120F01-74A1-404A-9660-490BE7EA1EEB}"/>
              </a:ext>
            </a:extLst>
          </p:cNvPr>
          <p:cNvSpPr/>
          <p:nvPr/>
        </p:nvSpPr>
        <p:spPr bwMode="gray">
          <a:xfrm>
            <a:off x="152400" y="622300"/>
            <a:ext cx="6553200" cy="3270372"/>
          </a:xfrm>
          <a:prstGeom prst="rect">
            <a:avLst/>
          </a:prstGeom>
          <a:solidFill>
            <a:srgbClr val="FFFFFF">
              <a:alpha val="32941"/>
            </a:srgbClr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b="1" dirty="0">
              <a:solidFill>
                <a:schemeClr val="bg1"/>
              </a:solidFill>
              <a:cs typeface="AdihausDIN Cn" panose="020B0506020101010102" pitchFamily="34" charset="0"/>
            </a:endParaRPr>
          </a:p>
        </p:txBody>
      </p:sp>
      <p:grpSp>
        <p:nvGrpSpPr>
          <p:cNvPr id="15365" name="Group 15364">
            <a:extLst>
              <a:ext uri="{FF2B5EF4-FFF2-40B4-BE49-F238E27FC236}">
                <a16:creationId xmlns:a16="http://schemas.microsoft.com/office/drawing/2014/main" id="{57171A0A-22B7-4B6E-B623-A7F56E331EA2}"/>
              </a:ext>
            </a:extLst>
          </p:cNvPr>
          <p:cNvGrpSpPr/>
          <p:nvPr/>
        </p:nvGrpSpPr>
        <p:grpSpPr>
          <a:xfrm>
            <a:off x="2399458" y="1085849"/>
            <a:ext cx="6395128" cy="3759769"/>
            <a:chOff x="2285158" y="1174749"/>
            <a:chExt cx="6395128" cy="3759769"/>
          </a:xfrm>
        </p:grpSpPr>
        <p:sp>
          <p:nvSpPr>
            <p:cNvPr id="110" name="Arrow: Up 109">
              <a:extLst>
                <a:ext uri="{FF2B5EF4-FFF2-40B4-BE49-F238E27FC236}">
                  <a16:creationId xmlns:a16="http://schemas.microsoft.com/office/drawing/2014/main" id="{285185CC-D74B-49D0-98CC-5B8E9BC666F2}"/>
                </a:ext>
              </a:extLst>
            </p:cNvPr>
            <p:cNvSpPr/>
            <p:nvPr/>
          </p:nvSpPr>
          <p:spPr bwMode="gray">
            <a:xfrm>
              <a:off x="2285158" y="3674518"/>
              <a:ext cx="4077542" cy="1260000"/>
            </a:xfrm>
            <a:prstGeom prst="upArrow">
              <a:avLst>
                <a:gd name="adj1" fmla="val 100000"/>
                <a:gd name="adj2" fmla="val 0"/>
              </a:avLst>
            </a:prstGeom>
            <a:solidFill>
              <a:schemeClr val="bg2">
                <a:lumMod val="20000"/>
                <a:lumOff val="80000"/>
              </a:schemeClr>
            </a:solidFill>
            <a:ln w="6350" cap="sq">
              <a:solidFill>
                <a:schemeClr val="tx2"/>
              </a:solidFill>
              <a:miter lim="800000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b="1" dirty="0">
                  <a:solidFill>
                    <a:schemeClr val="tx1"/>
                  </a:solidFill>
                  <a:cs typeface="AdihausDIN Cn" panose="020B0506020101010102" pitchFamily="34" charset="0"/>
                </a:rPr>
                <a:t>DATA</a:t>
              </a:r>
            </a:p>
            <a:p>
              <a:pPr marL="1074738" indent="-171450">
                <a:lnSpc>
                  <a:spcPct val="90000"/>
                </a:lnSpc>
                <a:spcAft>
                  <a:spcPts val="300"/>
                </a:spcAft>
                <a:buFont typeface="AdihausDIN" panose="020B0504020101020102" pitchFamily="34" charset="0"/>
                <a:buChar char="–"/>
              </a:pPr>
              <a:r>
                <a:rPr lang="en-US" sz="700" dirty="0">
                  <a:solidFill>
                    <a:schemeClr val="tx1"/>
                  </a:solidFill>
                  <a:cs typeface="AdihausDIN Cn" panose="020B0506020101010102" pitchFamily="34" charset="0"/>
                </a:rPr>
                <a:t>very different software/tools for data collection, export and analysis are used in the projects </a:t>
              </a:r>
              <a:br>
                <a:rPr lang="en-US" sz="700" dirty="0">
                  <a:solidFill>
                    <a:schemeClr val="tx1"/>
                  </a:solidFill>
                  <a:cs typeface="AdihausDIN Cn" panose="020B0506020101010102" pitchFamily="34" charset="0"/>
                </a:rPr>
              </a:br>
              <a:r>
                <a:rPr lang="en-US" sz="700" dirty="0">
                  <a:solidFill>
                    <a:schemeClr val="tx1"/>
                  </a:solidFill>
                  <a:cs typeface="AdihausDIN Cn" panose="020B0506020101010102" pitchFamily="34" charset="0"/>
                  <a:sym typeface="Symbol" panose="05050102010706020507" pitchFamily="18" charset="2"/>
                </a:rPr>
                <a:t> huge variety of different data formats</a:t>
              </a:r>
              <a:br>
                <a:rPr lang="en-US" sz="700" dirty="0">
                  <a:solidFill>
                    <a:schemeClr val="tx1"/>
                  </a:solidFill>
                  <a:cs typeface="AdihausDIN Cn" panose="020B0506020101010102" pitchFamily="34" charset="0"/>
                </a:rPr>
              </a:br>
              <a:r>
                <a:rPr lang="en-US" sz="700" dirty="0">
                  <a:solidFill>
                    <a:schemeClr val="tx1"/>
                  </a:solidFill>
                  <a:cs typeface="AdihausDIN Cn" panose="020B0506020101010102" pitchFamily="34" charset="0"/>
                  <a:sym typeface="Symbol" panose="05050102010706020507" pitchFamily="18" charset="2"/>
                </a:rPr>
                <a:t> </a:t>
              </a:r>
              <a:r>
                <a:rPr lang="en-US" sz="700" dirty="0">
                  <a:solidFill>
                    <a:schemeClr val="tx1"/>
                  </a:solidFill>
                  <a:cs typeface="AdihausDIN Cn" panose="020B0506020101010102" pitchFamily="34" charset="0"/>
                </a:rPr>
                <a:t>no data format restrictions on the platform</a:t>
              </a:r>
            </a:p>
            <a:p>
              <a:pPr marL="1074738" indent="-171450">
                <a:lnSpc>
                  <a:spcPct val="90000"/>
                </a:lnSpc>
                <a:spcAft>
                  <a:spcPts val="300"/>
                </a:spcAft>
                <a:buFont typeface="AdihausDIN" panose="020B0504020101020102" pitchFamily="34" charset="0"/>
                <a:buChar char="–"/>
              </a:pPr>
              <a:r>
                <a:rPr lang="en-US" sz="700" dirty="0">
                  <a:solidFill>
                    <a:schemeClr val="tx1"/>
                  </a:solidFill>
                  <a:cs typeface="AdihausDIN Cn" panose="020B0506020101010102" pitchFamily="34" charset="0"/>
                </a:rPr>
                <a:t>data volume per assay ~10GB</a:t>
              </a:r>
              <a:br>
                <a:rPr lang="en-US" sz="700" dirty="0">
                  <a:solidFill>
                    <a:schemeClr val="tx1"/>
                  </a:solidFill>
                  <a:cs typeface="AdihausDIN Cn" panose="020B0506020101010102" pitchFamily="34" charset="0"/>
                </a:rPr>
              </a:br>
              <a:r>
                <a:rPr lang="en-US" sz="700" dirty="0">
                  <a:solidFill>
                    <a:schemeClr val="tx1"/>
                  </a:solidFill>
                  <a:cs typeface="AdihausDIN Cn" panose="020B0506020101010102" pitchFamily="34" charset="0"/>
                  <a:sym typeface="Symbol" panose="05050102010706020507" pitchFamily="18" charset="2"/>
                </a:rPr>
                <a:t> limitation of 7TB for all data within one project</a:t>
              </a:r>
            </a:p>
            <a:p>
              <a:pPr marL="1074738" indent="-171450">
                <a:lnSpc>
                  <a:spcPct val="90000"/>
                </a:lnSpc>
                <a:spcAft>
                  <a:spcPts val="300"/>
                </a:spcAft>
                <a:buFont typeface="AdihausDIN" panose="020B0504020101020102" pitchFamily="34" charset="0"/>
                <a:buChar char="–"/>
              </a:pPr>
              <a:r>
                <a:rPr lang="en-US" sz="700" dirty="0">
                  <a:solidFill>
                    <a:schemeClr val="tx1"/>
                  </a:solidFill>
                  <a:cs typeface="AdihausDIN Cn" panose="020B0506020101010102" pitchFamily="34" charset="0"/>
                  <a:sym typeface="Symbol" panose="05050102010706020507" pitchFamily="18" charset="2"/>
                </a:rPr>
                <a:t>data primarily used by scientists themselves as well as other collaborators within the project</a:t>
              </a:r>
              <a:endParaRPr lang="en-US" sz="700" dirty="0">
                <a:solidFill>
                  <a:schemeClr val="tx1"/>
                </a:solidFill>
                <a:cs typeface="AdihausDIN Cn" panose="020B0506020101010102" pitchFamily="34" charset="0"/>
              </a:endParaRPr>
            </a:p>
          </p:txBody>
        </p:sp>
        <p:pic>
          <p:nvPicPr>
            <p:cNvPr id="15362" name="Picture 2" descr="Bildergebnis fÃ¼r json file format logo">
              <a:extLst>
                <a:ext uri="{FF2B5EF4-FFF2-40B4-BE49-F238E27FC236}">
                  <a16:creationId xmlns:a16="http://schemas.microsoft.com/office/drawing/2014/main" id="{13AFA38C-4350-4C96-80A2-22A9E4B9566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1188" r="11188"/>
            <a:stretch/>
          </p:blipFill>
          <p:spPr bwMode="auto">
            <a:xfrm>
              <a:off x="2390112" y="4017539"/>
              <a:ext cx="334556" cy="3345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366" name="Picture 6" descr="Bildergebnis fÃ¼r jpeg icon">
              <a:extLst>
                <a:ext uri="{FF2B5EF4-FFF2-40B4-BE49-F238E27FC236}">
                  <a16:creationId xmlns:a16="http://schemas.microsoft.com/office/drawing/2014/main" id="{64D08B91-D14B-4E5F-816C-B6D800679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52741" y="4074350"/>
              <a:ext cx="334556" cy="3345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3" name="Picture 92">
              <a:extLst>
                <a:ext uri="{FF2B5EF4-FFF2-40B4-BE49-F238E27FC236}">
                  <a16:creationId xmlns:a16="http://schemas.microsoft.com/office/drawing/2014/main" id="{52A34A7F-1C44-481C-9C3E-0AB1EFDD1E8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716106" y="4475094"/>
              <a:ext cx="334557" cy="334557"/>
            </a:xfrm>
            <a:prstGeom prst="rect">
              <a:avLst/>
            </a:prstGeom>
          </p:spPr>
        </p:pic>
        <p:cxnSp>
          <p:nvCxnSpPr>
            <p:cNvPr id="115" name="Straight Arrow Connector 114">
              <a:extLst>
                <a:ext uri="{FF2B5EF4-FFF2-40B4-BE49-F238E27FC236}">
                  <a16:creationId xmlns:a16="http://schemas.microsoft.com/office/drawing/2014/main" id="{56125610-5B09-4F8C-8B35-030F9834D10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639331" y="3452606"/>
              <a:ext cx="0" cy="221912"/>
            </a:xfrm>
            <a:prstGeom prst="straightConnector1">
              <a:avLst/>
            </a:prstGeom>
            <a:ln w="6350" cmpd="sng">
              <a:solidFill>
                <a:schemeClr val="tx1"/>
              </a:solidFill>
              <a:prstDash val="solid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1" name="Straight Arrow Connector 130">
              <a:extLst>
                <a:ext uri="{FF2B5EF4-FFF2-40B4-BE49-F238E27FC236}">
                  <a16:creationId xmlns:a16="http://schemas.microsoft.com/office/drawing/2014/main" id="{243B6262-05C9-47E6-B55F-7F14B0B393E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77931" y="3452606"/>
              <a:ext cx="0" cy="221912"/>
            </a:xfrm>
            <a:prstGeom prst="straightConnector1">
              <a:avLst/>
            </a:prstGeom>
            <a:ln w="6350" cmpd="sng">
              <a:solidFill>
                <a:schemeClr val="tx1"/>
              </a:solidFill>
              <a:prstDash val="solid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2" name="Straight Arrow Connector 131">
              <a:extLst>
                <a:ext uri="{FF2B5EF4-FFF2-40B4-BE49-F238E27FC236}">
                  <a16:creationId xmlns:a16="http://schemas.microsoft.com/office/drawing/2014/main" id="{D0E29C01-C7F7-4D3B-B931-7DEF84417B8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465099" y="3452606"/>
              <a:ext cx="0" cy="221912"/>
            </a:xfrm>
            <a:prstGeom prst="straightConnector1">
              <a:avLst/>
            </a:prstGeom>
            <a:ln w="6350" cmpd="sng">
              <a:solidFill>
                <a:schemeClr val="tx1"/>
              </a:solidFill>
              <a:prstDash val="solid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3" name="Straight Arrow Connector 132">
              <a:extLst>
                <a:ext uri="{FF2B5EF4-FFF2-40B4-BE49-F238E27FC236}">
                  <a16:creationId xmlns:a16="http://schemas.microsoft.com/office/drawing/2014/main" id="{DDF8A309-BD06-43C9-B289-25F0ECE5D42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806564" y="3452606"/>
              <a:ext cx="0" cy="221912"/>
            </a:xfrm>
            <a:prstGeom prst="straightConnector1">
              <a:avLst/>
            </a:prstGeom>
            <a:ln w="6350" cmpd="sng">
              <a:solidFill>
                <a:schemeClr val="tx1"/>
              </a:solidFill>
              <a:prstDash val="solid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4" name="Straight Arrow Connector 133">
              <a:extLst>
                <a:ext uri="{FF2B5EF4-FFF2-40B4-BE49-F238E27FC236}">
                  <a16:creationId xmlns:a16="http://schemas.microsoft.com/office/drawing/2014/main" id="{2CBFA672-5873-4052-8061-D6D810E7D58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46523" y="3452606"/>
              <a:ext cx="0" cy="221912"/>
            </a:xfrm>
            <a:prstGeom prst="straightConnector1">
              <a:avLst/>
            </a:prstGeom>
            <a:ln w="6350" cmpd="sng">
              <a:solidFill>
                <a:schemeClr val="tx1"/>
              </a:solidFill>
              <a:prstDash val="solid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5" name="Straight Arrow Connector 134">
              <a:extLst>
                <a:ext uri="{FF2B5EF4-FFF2-40B4-BE49-F238E27FC236}">
                  <a16:creationId xmlns:a16="http://schemas.microsoft.com/office/drawing/2014/main" id="{5483AAE8-2789-4821-8A2B-24415F70822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965765" y="3452606"/>
              <a:ext cx="0" cy="221912"/>
            </a:xfrm>
            <a:prstGeom prst="straightConnector1">
              <a:avLst/>
            </a:prstGeom>
            <a:ln w="6350" cmpd="sng">
              <a:solidFill>
                <a:schemeClr val="tx1"/>
              </a:solidFill>
              <a:prstDash val="solid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6" name="Straight Arrow Connector 135">
              <a:extLst>
                <a:ext uri="{FF2B5EF4-FFF2-40B4-BE49-F238E27FC236}">
                  <a16:creationId xmlns:a16="http://schemas.microsoft.com/office/drawing/2014/main" id="{4193CD11-E713-4412-A6F9-B1A13D44844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19914" y="3452606"/>
              <a:ext cx="0" cy="221912"/>
            </a:xfrm>
            <a:prstGeom prst="straightConnector1">
              <a:avLst/>
            </a:prstGeom>
            <a:ln w="6350" cmpd="sng">
              <a:solidFill>
                <a:schemeClr val="tx1"/>
              </a:solidFill>
              <a:prstDash val="solid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7" name="Straight Arrow Connector 136">
              <a:extLst>
                <a:ext uri="{FF2B5EF4-FFF2-40B4-BE49-F238E27FC236}">
                  <a16:creationId xmlns:a16="http://schemas.microsoft.com/office/drawing/2014/main" id="{3B96604E-464E-4F67-90B4-DA9769C5EB6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205724" y="3452606"/>
              <a:ext cx="0" cy="221912"/>
            </a:xfrm>
            <a:prstGeom prst="straightConnector1">
              <a:avLst/>
            </a:prstGeom>
            <a:ln w="6350" cmpd="sng">
              <a:solidFill>
                <a:schemeClr val="tx1"/>
              </a:solidFill>
              <a:prstDash val="solid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8" name="Straight Arrow Connector 137">
              <a:extLst>
                <a:ext uri="{FF2B5EF4-FFF2-40B4-BE49-F238E27FC236}">
                  <a16:creationId xmlns:a16="http://schemas.microsoft.com/office/drawing/2014/main" id="{6192A25E-2B85-4D58-9110-77E8A9DB349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45683" y="3452606"/>
              <a:ext cx="0" cy="221912"/>
            </a:xfrm>
            <a:prstGeom prst="straightConnector1">
              <a:avLst/>
            </a:prstGeom>
            <a:ln w="6350" cmpd="sng">
              <a:solidFill>
                <a:schemeClr val="tx1"/>
              </a:solidFill>
              <a:prstDash val="solid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9" name="Straight Arrow Connector 138">
              <a:extLst>
                <a:ext uri="{FF2B5EF4-FFF2-40B4-BE49-F238E27FC236}">
                  <a16:creationId xmlns:a16="http://schemas.microsoft.com/office/drawing/2014/main" id="{7E3A098C-4B87-450C-9E43-2378E2626F6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787148" y="3452606"/>
              <a:ext cx="0" cy="221912"/>
            </a:xfrm>
            <a:prstGeom prst="straightConnector1">
              <a:avLst/>
            </a:prstGeom>
            <a:ln w="6350" cmpd="sng">
              <a:solidFill>
                <a:schemeClr val="tx1"/>
              </a:solidFill>
              <a:prstDash val="solid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0" name="Straight Arrow Connector 139">
              <a:extLst>
                <a:ext uri="{FF2B5EF4-FFF2-40B4-BE49-F238E27FC236}">
                  <a16:creationId xmlns:a16="http://schemas.microsoft.com/office/drawing/2014/main" id="{A9067A99-D3EA-4AD3-8CC8-D6CCCBA139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27107" y="3452606"/>
              <a:ext cx="0" cy="221912"/>
            </a:xfrm>
            <a:prstGeom prst="straightConnector1">
              <a:avLst/>
            </a:prstGeom>
            <a:ln w="6350" cmpd="sng">
              <a:solidFill>
                <a:schemeClr val="tx1"/>
              </a:solidFill>
              <a:prstDash val="solid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1" name="Straight Arrow Connector 140">
              <a:extLst>
                <a:ext uri="{FF2B5EF4-FFF2-40B4-BE49-F238E27FC236}">
                  <a16:creationId xmlns:a16="http://schemas.microsoft.com/office/drawing/2014/main" id="{63022E36-7D78-4D8F-9301-F7A76CFD1CC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25140" y="3452606"/>
              <a:ext cx="0" cy="221912"/>
            </a:xfrm>
            <a:prstGeom prst="straightConnector1">
              <a:avLst/>
            </a:prstGeom>
            <a:ln w="6350" cmpd="sng">
              <a:solidFill>
                <a:schemeClr val="tx1"/>
              </a:solidFill>
              <a:prstDash val="solid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42" name="Arrow: Up 141">
              <a:extLst>
                <a:ext uri="{FF2B5EF4-FFF2-40B4-BE49-F238E27FC236}">
                  <a16:creationId xmlns:a16="http://schemas.microsoft.com/office/drawing/2014/main" id="{2FC3EEC3-AAC0-4B45-87A8-A6AA71C43BAF}"/>
                </a:ext>
              </a:extLst>
            </p:cNvPr>
            <p:cNvSpPr/>
            <p:nvPr/>
          </p:nvSpPr>
          <p:spPr bwMode="gray">
            <a:xfrm>
              <a:off x="7048878" y="1174749"/>
              <a:ext cx="1631408" cy="2499769"/>
            </a:xfrm>
            <a:prstGeom prst="upArrow">
              <a:avLst>
                <a:gd name="adj1" fmla="val 100000"/>
                <a:gd name="adj2" fmla="val 0"/>
              </a:avLst>
            </a:prstGeom>
            <a:solidFill>
              <a:schemeClr val="bg2">
                <a:lumMod val="20000"/>
                <a:lumOff val="80000"/>
              </a:schemeClr>
            </a:solidFill>
            <a:ln w="6350" cap="sq">
              <a:solidFill>
                <a:schemeClr val="tx2"/>
              </a:solidFill>
              <a:miter lim="800000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b="1" dirty="0">
                  <a:solidFill>
                    <a:schemeClr val="tx1"/>
                  </a:solidFill>
                  <a:cs typeface="AdihausDIN Cn" panose="020B0506020101010102" pitchFamily="34" charset="0"/>
                </a:rPr>
                <a:t>META DATA</a:t>
              </a:r>
            </a:p>
            <a:p>
              <a:pPr marL="266700" indent="-171450">
                <a:lnSpc>
                  <a:spcPct val="90000"/>
                </a:lnSpc>
                <a:spcAft>
                  <a:spcPts val="300"/>
                </a:spcAft>
                <a:buFont typeface="AdihausDIN" panose="020B0504020101020102" pitchFamily="34" charset="0"/>
                <a:buChar char="–"/>
              </a:pPr>
              <a:r>
                <a:rPr lang="en-US" sz="700" dirty="0">
                  <a:solidFill>
                    <a:schemeClr val="tx1"/>
                  </a:solidFill>
                  <a:cs typeface="AdihausDIN Cn" panose="020B0506020101010102" pitchFamily="34" charset="0"/>
                </a:rPr>
                <a:t>scientists are responsible to create meta data and to upload it onto the platform</a:t>
              </a:r>
              <a:br>
                <a:rPr lang="en-US" sz="700" dirty="0">
                  <a:solidFill>
                    <a:schemeClr val="tx1"/>
                  </a:solidFill>
                  <a:cs typeface="AdihausDIN Cn" panose="020B0506020101010102" pitchFamily="34" charset="0"/>
                </a:rPr>
              </a:br>
              <a:r>
                <a:rPr lang="en-US" sz="700" dirty="0">
                  <a:solidFill>
                    <a:schemeClr val="tx1"/>
                  </a:solidFill>
                  <a:cs typeface="AdihausDIN Cn" panose="020B0506020101010102" pitchFamily="34" charset="0"/>
                  <a:sym typeface="Symbol" panose="05050102010706020507" pitchFamily="18" charset="2"/>
                </a:rPr>
                <a:t> no meta standards forced across the platform</a:t>
              </a:r>
              <a:br>
                <a:rPr lang="en-US" sz="700" dirty="0">
                  <a:solidFill>
                    <a:schemeClr val="tx1"/>
                  </a:solidFill>
                  <a:cs typeface="AdihausDIN Cn" panose="020B0506020101010102" pitchFamily="34" charset="0"/>
                  <a:sym typeface="Symbol" panose="05050102010706020507" pitchFamily="18" charset="2"/>
                </a:rPr>
              </a:br>
              <a:r>
                <a:rPr lang="en-US" sz="700" dirty="0">
                  <a:solidFill>
                    <a:schemeClr val="tx1"/>
                  </a:solidFill>
                  <a:cs typeface="AdihausDIN Cn" panose="020B0506020101010102" pitchFamily="34" charset="0"/>
                  <a:sym typeface="Symbol" panose="05050102010706020507" pitchFamily="18" charset="2"/>
                </a:rPr>
                <a:t> most meta data is text based (.csv, .txt, .doc)</a:t>
              </a:r>
              <a:endParaRPr lang="en-US" sz="700" dirty="0">
                <a:solidFill>
                  <a:schemeClr val="tx1"/>
                </a:solidFill>
                <a:cs typeface="AdihausDIN Cn" panose="020B0506020101010102" pitchFamily="34" charset="0"/>
              </a:endParaRPr>
            </a:p>
            <a:p>
              <a:pPr marL="266700" indent="-171450">
                <a:lnSpc>
                  <a:spcPct val="90000"/>
                </a:lnSpc>
                <a:spcAft>
                  <a:spcPts val="300"/>
                </a:spcAft>
                <a:buFont typeface="AdihausDIN" panose="020B0504020101020102" pitchFamily="34" charset="0"/>
                <a:buChar char="–"/>
              </a:pPr>
              <a:r>
                <a:rPr lang="en-US" sz="700" dirty="0">
                  <a:solidFill>
                    <a:schemeClr val="tx1"/>
                  </a:solidFill>
                  <a:cs typeface="AdihausDIN Cn" panose="020B0506020101010102" pitchFamily="34" charset="0"/>
                </a:rPr>
                <a:t>desktop software (</a:t>
              </a:r>
              <a:r>
                <a:rPr lang="en-US" sz="700" dirty="0" err="1">
                  <a:solidFill>
                    <a:schemeClr val="tx1"/>
                  </a:solidFill>
                  <a:cs typeface="AdihausDIN Cn" panose="020B0506020101010102" pitchFamily="34" charset="0"/>
                </a:rPr>
                <a:t>ISAcreator</a:t>
              </a:r>
              <a:r>
                <a:rPr lang="en-US" sz="700" dirty="0">
                  <a:solidFill>
                    <a:schemeClr val="tx1"/>
                  </a:solidFill>
                  <a:cs typeface="AdihausDIN Cn" panose="020B0506020101010102" pitchFamily="34" charset="0"/>
                </a:rPr>
                <a:t>) available: to support meta data creation </a:t>
              </a:r>
              <a:r>
                <a:rPr lang="en-US" sz="700" dirty="0">
                  <a:solidFill>
                    <a:schemeClr val="tx1"/>
                  </a:solidFill>
                  <a:cs typeface="AdihausDIN Cn" panose="020B0506020101010102" pitchFamily="34" charset="0"/>
                  <a:sym typeface="Symbol" panose="05050102010706020507" pitchFamily="18" charset="2"/>
                </a:rPr>
                <a:t> low acceptance by scientists</a:t>
              </a:r>
            </a:p>
            <a:p>
              <a:pPr marL="266700" indent="-171450">
                <a:lnSpc>
                  <a:spcPct val="90000"/>
                </a:lnSpc>
                <a:spcAft>
                  <a:spcPts val="300"/>
                </a:spcAft>
                <a:buFont typeface="AdihausDIN" panose="020B0504020101020102" pitchFamily="34" charset="0"/>
                <a:buChar char="–"/>
              </a:pPr>
              <a:r>
                <a:rPr lang="en-US" sz="700" dirty="0">
                  <a:solidFill>
                    <a:schemeClr val="tx1"/>
                  </a:solidFill>
                  <a:cs typeface="AdihausDIN Cn" panose="020B0506020101010102" pitchFamily="34" charset="0"/>
                  <a:sym typeface="Symbol" panose="05050102010706020507" pitchFamily="18" charset="2"/>
                </a:rPr>
                <a:t>standardization of meta data no priority for now</a:t>
              </a:r>
              <a:endParaRPr lang="en-US" sz="700" dirty="0">
                <a:solidFill>
                  <a:schemeClr val="tx1"/>
                </a:solidFill>
                <a:cs typeface="AdihausDIN Cn" panose="020B0506020101010102" pitchFamily="34" charset="0"/>
              </a:endParaRPr>
            </a:p>
          </p:txBody>
        </p:sp>
        <p:sp>
          <p:nvSpPr>
            <p:cNvPr id="15361" name="Arrow: Pentagon 15360">
              <a:extLst>
                <a:ext uri="{FF2B5EF4-FFF2-40B4-BE49-F238E27FC236}">
                  <a16:creationId xmlns:a16="http://schemas.microsoft.com/office/drawing/2014/main" id="{84956315-99D0-4AB5-B7BA-E62A0D986082}"/>
                </a:ext>
              </a:extLst>
            </p:cNvPr>
            <p:cNvSpPr/>
            <p:nvPr/>
          </p:nvSpPr>
          <p:spPr bwMode="gray">
            <a:xfrm flipH="1">
              <a:off x="6384006" y="3246931"/>
              <a:ext cx="744319" cy="182160"/>
            </a:xfrm>
            <a:prstGeom prst="homePlate">
              <a:avLst/>
            </a:prstGeom>
            <a:solidFill>
              <a:schemeClr val="tx1"/>
            </a:solidFill>
            <a:ln w="12700" cap="sq">
              <a:noFill/>
              <a:miter lim="800000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0"/>
                </a:spcAft>
              </a:pPr>
              <a:r>
                <a:rPr lang="en-US" sz="700" dirty="0">
                  <a:solidFill>
                    <a:schemeClr val="bg1"/>
                  </a:solidFill>
                  <a:cs typeface="AdihausDIN Cn" panose="020B0506020101010102" pitchFamily="34" charset="0"/>
                </a:rPr>
                <a:t>MANDATORY</a:t>
              </a:r>
            </a:p>
          </p:txBody>
        </p:sp>
        <p:sp>
          <p:nvSpPr>
            <p:cNvPr id="147" name="Arrow: Pentagon 146">
              <a:extLst>
                <a:ext uri="{FF2B5EF4-FFF2-40B4-BE49-F238E27FC236}">
                  <a16:creationId xmlns:a16="http://schemas.microsoft.com/office/drawing/2014/main" id="{3DA04821-70A1-4E9E-9D2B-6079E83B3B2F}"/>
                </a:ext>
              </a:extLst>
            </p:cNvPr>
            <p:cNvSpPr/>
            <p:nvPr/>
          </p:nvSpPr>
          <p:spPr bwMode="gray">
            <a:xfrm flipH="1">
              <a:off x="6384006" y="2397548"/>
              <a:ext cx="744319" cy="182160"/>
            </a:xfrm>
            <a:prstGeom prst="homePlate">
              <a:avLst/>
            </a:prstGeom>
            <a:solidFill>
              <a:schemeClr val="tx2"/>
            </a:solidFill>
            <a:ln w="12700" cap="sq">
              <a:noFill/>
              <a:miter lim="800000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0"/>
                </a:spcAft>
              </a:pPr>
              <a:r>
                <a:rPr lang="en-US" sz="700" dirty="0">
                  <a:solidFill>
                    <a:schemeClr val="bg1"/>
                  </a:solidFill>
                  <a:cs typeface="AdihausDIN Cn" panose="020B0506020101010102" pitchFamily="34" charset="0"/>
                </a:rPr>
                <a:t>OPTIONAL</a:t>
              </a:r>
            </a:p>
          </p:txBody>
        </p:sp>
        <p:sp>
          <p:nvSpPr>
            <p:cNvPr id="148" name="Arrow: Pentagon 147">
              <a:extLst>
                <a:ext uri="{FF2B5EF4-FFF2-40B4-BE49-F238E27FC236}">
                  <a16:creationId xmlns:a16="http://schemas.microsoft.com/office/drawing/2014/main" id="{D48613FA-6E65-4877-B499-1436F2362420}"/>
                </a:ext>
              </a:extLst>
            </p:cNvPr>
            <p:cNvSpPr/>
            <p:nvPr/>
          </p:nvSpPr>
          <p:spPr bwMode="gray">
            <a:xfrm flipH="1">
              <a:off x="6384006" y="1548165"/>
              <a:ext cx="744319" cy="182160"/>
            </a:xfrm>
            <a:prstGeom prst="homePlate">
              <a:avLst/>
            </a:prstGeom>
            <a:solidFill>
              <a:schemeClr val="tx2"/>
            </a:solidFill>
            <a:ln w="12700" cap="sq">
              <a:noFill/>
              <a:miter lim="800000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0"/>
                </a:spcAft>
              </a:pPr>
              <a:r>
                <a:rPr lang="en-US" sz="700" dirty="0">
                  <a:solidFill>
                    <a:schemeClr val="bg1"/>
                  </a:solidFill>
                  <a:cs typeface="AdihausDIN Cn" panose="020B0506020101010102" pitchFamily="34" charset="0"/>
                </a:rPr>
                <a:t>OPTIONAL</a:t>
              </a:r>
            </a:p>
          </p:txBody>
        </p:sp>
      </p:grpSp>
      <p:pic>
        <p:nvPicPr>
          <p:cNvPr id="15368" name="Picture 15367">
            <a:extLst>
              <a:ext uri="{FF2B5EF4-FFF2-40B4-BE49-F238E27FC236}">
                <a16:creationId xmlns:a16="http://schemas.microsoft.com/office/drawing/2014/main" id="{645CEDBF-D99E-42E6-A4D8-22F9A2B3C4C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41282" y="2969323"/>
            <a:ext cx="334800" cy="334800"/>
          </a:xfrm>
          <a:prstGeom prst="rect">
            <a:avLst/>
          </a:prstGeom>
        </p:spPr>
      </p:pic>
      <p:pic>
        <p:nvPicPr>
          <p:cNvPr id="15370" name="Picture 15369">
            <a:extLst>
              <a:ext uri="{FF2B5EF4-FFF2-40B4-BE49-F238E27FC236}">
                <a16:creationId xmlns:a16="http://schemas.microsoft.com/office/drawing/2014/main" id="{6D12E0F4-B400-4CE4-92BB-D233104D52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14053" y="3083954"/>
            <a:ext cx="334800" cy="334800"/>
          </a:xfrm>
          <a:prstGeom prst="rect">
            <a:avLst/>
          </a:prstGeom>
        </p:spPr>
      </p:pic>
      <p:pic>
        <p:nvPicPr>
          <p:cNvPr id="156" name="Picture 155">
            <a:extLst>
              <a:ext uri="{FF2B5EF4-FFF2-40B4-BE49-F238E27FC236}">
                <a16:creationId xmlns:a16="http://schemas.microsoft.com/office/drawing/2014/main" id="{7397D71C-A8B9-4FD7-9767-C0A8A9DCEE2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41822" y="3032333"/>
            <a:ext cx="334557" cy="334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77626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ISPRING_RESOURCE_PATHS_HASH_2" val="43ef732248e4e4fbc1f78a43fe4c73af8c5bffc"/>
  <p:tag name="ISPRING_RESOURCE_PATHS_HASH_PRESENTER" val="15e96bdfcb49be15f1326379da21b3357065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lSdjcSRsSWXcVOu.67a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1uFeRhTGG6nr6AL3WXL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Y2s4AKRIeWp3PbJ8lqr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wuDgQuRAKoHwd2xgWg8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LOBAL TEMPLATE 2017 (BOLD PINK)">
  <a:themeElements>
    <a:clrScheme name="BOLD PINK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640A32"/>
      </a:accent1>
      <a:accent2>
        <a:srgbClr val="960F46"/>
      </a:accent2>
      <a:accent3>
        <a:srgbClr val="CD145F"/>
      </a:accent3>
      <a:accent4>
        <a:srgbClr val="F0468C"/>
      </a:accent4>
      <a:accent5>
        <a:srgbClr val="F587B4"/>
      </a:accent5>
      <a:accent6>
        <a:srgbClr val="FFB9DC"/>
      </a:accent6>
      <a:hlink>
        <a:srgbClr val="CD145F"/>
      </a:hlink>
      <a:folHlink>
        <a:srgbClr val="CD145F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 Template 2017 Core Red" id="{44F347A8-A230-46A4-A7A2-A7C671D1D7D8}" vid="{0D5A18F0-7FAD-457E-8E9B-35688585B2E7}"/>
    </a:ext>
  </a:extLst>
</a:theme>
</file>

<file path=ppt/theme/theme10.xml><?xml version="1.0" encoding="utf-8"?>
<a:theme xmlns:a="http://schemas.openxmlformats.org/drawingml/2006/main" name="Office Theme">
  <a:themeElements>
    <a:clrScheme name="adidas">
      <a:dk1>
        <a:sysClr val="windowText" lastClr="000000"/>
      </a:dk1>
      <a:lt1>
        <a:sysClr val="window" lastClr="FFFFFF"/>
      </a:lt1>
      <a:dk2>
        <a:srgbClr val="BEC3CE"/>
      </a:dk2>
      <a:lt2>
        <a:srgbClr val="50535A"/>
      </a:lt2>
      <a:accent1>
        <a:srgbClr val="231E3C"/>
      </a:accent1>
      <a:accent2>
        <a:srgbClr val="322D5A"/>
      </a:accent2>
      <a:accent3>
        <a:srgbClr val="463C78"/>
      </a:accent3>
      <a:accent4>
        <a:srgbClr val="8278BE"/>
      </a:accent4>
      <a:accent5>
        <a:srgbClr val="AAA5D2"/>
      </a:accent5>
      <a:accent6>
        <a:srgbClr val="D7D2EB"/>
      </a:accent6>
      <a:hlink>
        <a:srgbClr val="000000"/>
      </a:hlink>
      <a:folHlink>
        <a:srgbClr val="000000"/>
      </a:folHlink>
    </a:clrScheme>
    <a:fontScheme name="adidas">
      <a:majorFont>
        <a:latin typeface="adineue PRO TT Black"/>
        <a:ea typeface=""/>
        <a:cs typeface=""/>
      </a:majorFont>
      <a:minorFont>
        <a:latin typeface="adiText Light Bet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GLOBAL TEMPLATE 2017 (CORE RED)">
  <a:themeElements>
    <a:clrScheme name="CORE RED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691419"/>
      </a:accent1>
      <a:accent2>
        <a:srgbClr val="A01923"/>
      </a:accent2>
      <a:accent3>
        <a:srgbClr val="D72332"/>
      </a:accent3>
      <a:accent4>
        <a:srgbClr val="E6646E"/>
      </a:accent4>
      <a:accent5>
        <a:srgbClr val="EB9196"/>
      </a:accent5>
      <a:accent6>
        <a:srgbClr val="F5C3C8"/>
      </a:accent6>
      <a:hlink>
        <a:srgbClr val="D72332"/>
      </a:hlink>
      <a:folHlink>
        <a:srgbClr val="D72332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 Template 2017 Core Red" id="{44F347A8-A230-46A4-A7A2-A7C671D1D7D8}" vid="{C8417C02-FC0A-4E3E-A55F-5FF5DE9F4BDD}"/>
    </a:ext>
  </a:extLst>
</a:theme>
</file>

<file path=ppt/theme/theme3.xml><?xml version="1.0" encoding="utf-8"?>
<a:theme xmlns:a="http://schemas.openxmlformats.org/drawingml/2006/main" name="GLOBAL TEMPLATE 2017 (SOLAR GOLD)">
  <a:themeElements>
    <a:clrScheme name="SOLAR GOLD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8C4600"/>
      </a:accent1>
      <a:accent2>
        <a:srgbClr val="CD7800"/>
      </a:accent2>
      <a:accent3>
        <a:srgbClr val="FFAF14"/>
      </a:accent3>
      <a:accent4>
        <a:srgbClr val="FFC35A"/>
      </a:accent4>
      <a:accent5>
        <a:srgbClr val="FFD278"/>
      </a:accent5>
      <a:accent6>
        <a:srgbClr val="FFE1AF"/>
      </a:accent6>
      <a:hlink>
        <a:srgbClr val="FFAF14"/>
      </a:hlink>
      <a:folHlink>
        <a:srgbClr val="FFAF14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 Template 2017 Core Red" id="{44F347A8-A230-46A4-A7A2-A7C671D1D7D8}" vid="{355F2A04-AABF-4079-882F-9075F67C068E}"/>
    </a:ext>
  </a:extLst>
</a:theme>
</file>

<file path=ppt/theme/theme4.xml><?xml version="1.0" encoding="utf-8"?>
<a:theme xmlns:a="http://schemas.openxmlformats.org/drawingml/2006/main" name="GLOBAL TEMPLATE 2017 (CORE GREEN)">
  <a:themeElements>
    <a:clrScheme name="CORE GREEN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054637"/>
      </a:accent1>
      <a:accent2>
        <a:srgbClr val="0A6E50"/>
      </a:accent2>
      <a:accent3>
        <a:srgbClr val="0F9169"/>
      </a:accent3>
      <a:accent4>
        <a:srgbClr val="32D7A5"/>
      </a:accent4>
      <a:accent5>
        <a:srgbClr val="82E6CD"/>
      </a:accent5>
      <a:accent6>
        <a:srgbClr val="B4F0DC"/>
      </a:accent6>
      <a:hlink>
        <a:srgbClr val="0F9169"/>
      </a:hlink>
      <a:folHlink>
        <a:srgbClr val="0F9169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 Template 2017 Core Red" id="{44F347A8-A230-46A4-A7A2-A7C671D1D7D8}" vid="{BB3D5E66-77FE-4D53-A4B5-3A29A681C529}"/>
    </a:ext>
  </a:extLst>
</a:theme>
</file>

<file path=ppt/theme/theme5.xml><?xml version="1.0" encoding="utf-8"?>
<a:theme xmlns:a="http://schemas.openxmlformats.org/drawingml/2006/main" name="GLOBAL TEMPLATE 2017 (TEAL)">
  <a:themeElements>
    <a:clrScheme name="TEAL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0F504B"/>
      </a:accent1>
      <a:accent2>
        <a:srgbClr val="198C82"/>
      </a:accent2>
      <a:accent3>
        <a:srgbClr val="2DD7C3"/>
      </a:accent3>
      <a:accent4>
        <a:srgbClr val="64E1D7"/>
      </a:accent4>
      <a:accent5>
        <a:srgbClr val="91EBE1"/>
      </a:accent5>
      <a:accent6>
        <a:srgbClr val="B4F0EB"/>
      </a:accent6>
      <a:hlink>
        <a:srgbClr val="2DD7C3"/>
      </a:hlink>
      <a:folHlink>
        <a:srgbClr val="2DD7C3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 Template 2017 Core Red" id="{44F347A8-A230-46A4-A7A2-A7C671D1D7D8}" vid="{3E7E13A9-943F-4EE8-97C8-4A4813B17C39}"/>
    </a:ext>
  </a:extLst>
</a:theme>
</file>

<file path=ppt/theme/theme6.xml><?xml version="1.0" encoding="utf-8"?>
<a:theme xmlns:a="http://schemas.openxmlformats.org/drawingml/2006/main" name="GLOBAL TEMPLATE 2017 (LIGHT BLUE)">
  <a:themeElements>
    <a:clrScheme name="LIGHT BLUE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0F5A73"/>
      </a:accent1>
      <a:accent2>
        <a:srgbClr val="1987AA"/>
      </a:accent2>
      <a:accent3>
        <a:srgbClr val="5AC3E6"/>
      </a:accent3>
      <a:accent4>
        <a:srgbClr val="8CD7F0"/>
      </a:accent4>
      <a:accent5>
        <a:srgbClr val="AFE1F5"/>
      </a:accent5>
      <a:accent6>
        <a:srgbClr val="CDEBF5"/>
      </a:accent6>
      <a:hlink>
        <a:srgbClr val="5AC3E6"/>
      </a:hlink>
      <a:folHlink>
        <a:srgbClr val="5AC3E6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 Template 2017 Core Red" id="{44F347A8-A230-46A4-A7A2-A7C671D1D7D8}" vid="{B9E5C820-2302-41E8-907B-C4D355441E00}"/>
    </a:ext>
  </a:extLst>
</a:theme>
</file>

<file path=ppt/theme/theme7.xml><?xml version="1.0" encoding="utf-8"?>
<a:theme xmlns:a="http://schemas.openxmlformats.org/drawingml/2006/main" name="GLOBAL TEMPLATE 2017 (ENERGY INK)">
  <a:themeElements>
    <a:clrScheme name="ENERGY INK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231E3C"/>
      </a:accent1>
      <a:accent2>
        <a:srgbClr val="322D5A"/>
      </a:accent2>
      <a:accent3>
        <a:srgbClr val="463C78"/>
      </a:accent3>
      <a:accent4>
        <a:srgbClr val="8278BE"/>
      </a:accent4>
      <a:accent5>
        <a:srgbClr val="AAA5D2"/>
      </a:accent5>
      <a:accent6>
        <a:srgbClr val="D7D2EB"/>
      </a:accent6>
      <a:hlink>
        <a:srgbClr val="8278BE"/>
      </a:hlink>
      <a:folHlink>
        <a:srgbClr val="8278BE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 Template 2017 Core Red" id="{44F347A8-A230-46A4-A7A2-A7C671D1D7D8}" vid="{DB2E39BE-C1B1-453D-95BA-DF575C9478A1}"/>
    </a:ext>
  </a:extLst>
</a:theme>
</file>

<file path=ppt/theme/theme8.xml><?xml version="1.0" encoding="utf-8"?>
<a:theme xmlns:a="http://schemas.openxmlformats.org/drawingml/2006/main" name="18_GLOBAL TEMPLATE 2017 (BOLD PINK)">
  <a:themeElements>
    <a:clrScheme name="CORE RED">
      <a:dk1>
        <a:sysClr val="windowText" lastClr="000000"/>
      </a:dk1>
      <a:lt1>
        <a:sysClr val="window" lastClr="FFFFFF"/>
      </a:lt1>
      <a:dk2>
        <a:srgbClr val="7F7F7F"/>
      </a:dk2>
      <a:lt2>
        <a:srgbClr val="BFBFBF"/>
      </a:lt2>
      <a:accent1>
        <a:srgbClr val="691419"/>
      </a:accent1>
      <a:accent2>
        <a:srgbClr val="A01923"/>
      </a:accent2>
      <a:accent3>
        <a:srgbClr val="D72332"/>
      </a:accent3>
      <a:accent4>
        <a:srgbClr val="E6646E"/>
      </a:accent4>
      <a:accent5>
        <a:srgbClr val="EB9196"/>
      </a:accent5>
      <a:accent6>
        <a:srgbClr val="F5C3C8"/>
      </a:accent6>
      <a:hlink>
        <a:srgbClr val="D72332"/>
      </a:hlink>
      <a:folHlink>
        <a:srgbClr val="D72332"/>
      </a:folHlink>
    </a:clrScheme>
    <a:fontScheme name="adidas Global Template">
      <a:majorFont>
        <a:latin typeface="adineue TEXT Black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Aft>
            <a:spcPts val="600"/>
          </a:spcAft>
          <a:defRPr sz="1200" b="1" dirty="0">
            <a:solidFill>
              <a:schemeClr val="bg1"/>
            </a:solidFill>
            <a:cs typeface="AdihausDIN Cn" panose="020B050602010101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  <a:ln w="9525">
          <a:noFill/>
        </a:ln>
      </a:spPr>
      <a:bodyPr vert="horz" wrap="square" lIns="0" tIns="0" rIns="0" bIns="0" rtlCol="0" anchor="t" anchorCtr="0">
        <a:noAutofit/>
      </a:bodyPr>
      <a:lstStyle>
        <a:defPPr>
          <a:defRPr sz="1200" dirty="0" err="1" smtClean="0">
            <a:latin typeface="+mn-lt"/>
          </a:defRPr>
        </a:defPPr>
      </a:lstStyle>
    </a:txDef>
  </a:objectDefaults>
  <a:extraClrSchemeLst>
    <a:extraClrScheme>
      <a:clrScheme name="BOLD P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40A32"/>
        </a:accent1>
        <a:accent2>
          <a:srgbClr val="960F46"/>
        </a:accent2>
        <a:accent3>
          <a:srgbClr val="CD145F"/>
        </a:accent3>
        <a:accent4>
          <a:srgbClr val="F0468C"/>
        </a:accent4>
        <a:accent5>
          <a:srgbClr val="F587B4"/>
        </a:accent5>
        <a:accent6>
          <a:srgbClr val="FFB9DC"/>
        </a:accent6>
        <a:hlink>
          <a:srgbClr val="CD145F"/>
        </a:hlink>
        <a:folHlink>
          <a:srgbClr val="CD145F"/>
        </a:folHlink>
      </a:clrScheme>
    </a:extraClrScheme>
    <a:extraClrScheme>
      <a:clrScheme name="CORE RE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691419"/>
        </a:accent1>
        <a:accent2>
          <a:srgbClr val="A01923"/>
        </a:accent2>
        <a:accent3>
          <a:srgbClr val="D72332"/>
        </a:accent3>
        <a:accent4>
          <a:srgbClr val="E6646E"/>
        </a:accent4>
        <a:accent5>
          <a:srgbClr val="EB9196"/>
        </a:accent5>
        <a:accent6>
          <a:srgbClr val="F5C3C8"/>
        </a:accent6>
        <a:hlink>
          <a:srgbClr val="D72332"/>
        </a:hlink>
        <a:folHlink>
          <a:srgbClr val="D72332"/>
        </a:folHlink>
      </a:clrScheme>
    </a:extraClrScheme>
    <a:extraClrScheme>
      <a:clrScheme name="SOLAR GOLD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8C4600"/>
        </a:accent1>
        <a:accent2>
          <a:srgbClr val="CD7800"/>
        </a:accent2>
        <a:accent3>
          <a:srgbClr val="FFAF14"/>
        </a:accent3>
        <a:accent4>
          <a:srgbClr val="FFC35A"/>
        </a:accent4>
        <a:accent5>
          <a:srgbClr val="FFD278"/>
        </a:accent5>
        <a:accent6>
          <a:srgbClr val="FFE1AF"/>
        </a:accent6>
        <a:hlink>
          <a:srgbClr val="FFAF14"/>
        </a:hlink>
        <a:folHlink>
          <a:srgbClr val="FFAF14"/>
        </a:folHlink>
      </a:clrScheme>
    </a:extraClrScheme>
    <a:extraClrScheme>
      <a:clrScheme name="CORE GREEN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54637"/>
        </a:accent1>
        <a:accent2>
          <a:srgbClr val="0A6E50"/>
        </a:accent2>
        <a:accent3>
          <a:srgbClr val="0F9169"/>
        </a:accent3>
        <a:accent4>
          <a:srgbClr val="32D7A5"/>
        </a:accent4>
        <a:accent5>
          <a:srgbClr val="82E6CD"/>
        </a:accent5>
        <a:accent6>
          <a:srgbClr val="B4F0DC"/>
        </a:accent6>
        <a:hlink>
          <a:srgbClr val="0F9169"/>
        </a:hlink>
        <a:folHlink>
          <a:srgbClr val="0F9169"/>
        </a:folHlink>
      </a:clrScheme>
    </a:extraClrScheme>
    <a:extraClrScheme>
      <a:clrScheme name="TEAL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04B"/>
        </a:accent1>
        <a:accent2>
          <a:srgbClr val="198C82"/>
        </a:accent2>
        <a:accent3>
          <a:srgbClr val="2DD7C3"/>
        </a:accent3>
        <a:accent4>
          <a:srgbClr val="64E1D7"/>
        </a:accent4>
        <a:accent5>
          <a:srgbClr val="91EBE1"/>
        </a:accent5>
        <a:accent6>
          <a:srgbClr val="B4F0EB"/>
        </a:accent6>
        <a:hlink>
          <a:srgbClr val="2DD7C3"/>
        </a:hlink>
        <a:folHlink>
          <a:srgbClr val="2DD7C3"/>
        </a:folHlink>
      </a:clrScheme>
    </a:extraClrScheme>
    <a:extraClrScheme>
      <a:clrScheme name="LIGHT BLUE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0F5A73"/>
        </a:accent1>
        <a:accent2>
          <a:srgbClr val="1987AA"/>
        </a:accent2>
        <a:accent3>
          <a:srgbClr val="5AC3E6"/>
        </a:accent3>
        <a:accent4>
          <a:srgbClr val="8CD7F0"/>
        </a:accent4>
        <a:accent5>
          <a:srgbClr val="AFE1F5"/>
        </a:accent5>
        <a:accent6>
          <a:srgbClr val="CDEBF5"/>
        </a:accent6>
        <a:hlink>
          <a:srgbClr val="5AC3E6"/>
        </a:hlink>
        <a:folHlink>
          <a:srgbClr val="5AC3E6"/>
        </a:folHlink>
      </a:clrScheme>
    </a:extraClrScheme>
    <a:extraClrScheme>
      <a:clrScheme name="ENERGY INK">
        <a:dk1>
          <a:sysClr val="windowText" lastClr="000000"/>
        </a:dk1>
        <a:lt1>
          <a:sysClr val="window" lastClr="FFFFFF"/>
        </a:lt1>
        <a:dk2>
          <a:srgbClr val="7F7F7F"/>
        </a:dk2>
        <a:lt2>
          <a:srgbClr val="BFBFBF"/>
        </a:lt2>
        <a:accent1>
          <a:srgbClr val="231E3C"/>
        </a:accent1>
        <a:accent2>
          <a:srgbClr val="322D5A"/>
        </a:accent2>
        <a:accent3>
          <a:srgbClr val="463C78"/>
        </a:accent3>
        <a:accent4>
          <a:srgbClr val="8278BE"/>
        </a:accent4>
        <a:accent5>
          <a:srgbClr val="AAA5D2"/>
        </a:accent5>
        <a:accent6>
          <a:srgbClr val="D7D2EB"/>
        </a:accent6>
        <a:hlink>
          <a:srgbClr val="8278BE"/>
        </a:hlink>
        <a:folHlink>
          <a:srgbClr val="8278BE"/>
        </a:folHlink>
      </a:clrScheme>
    </a:extraClrScheme>
  </a:extraClrSchemeLst>
  <a:extLst>
    <a:ext uri="{05A4C25C-085E-4340-85A3-A5531E510DB2}">
      <thm15:themeFamily xmlns:thm15="http://schemas.microsoft.com/office/thememl/2012/main" name="adidas Template 2017 Core Red" id="{44F347A8-A230-46A4-A7A2-A7C671D1D7D8}" vid="{EFDC3BB6-E2D1-4F11-821C-D4AF72F58B6D}"/>
    </a:ext>
  </a:extLst>
</a:theme>
</file>

<file path=ppt/theme/theme9.xml><?xml version="1.0" encoding="utf-8"?>
<a:theme xmlns:a="http://schemas.openxmlformats.org/drawingml/2006/main" name="Office Theme">
  <a:themeElements>
    <a:clrScheme name="adidas">
      <a:dk1>
        <a:sysClr val="windowText" lastClr="000000"/>
      </a:dk1>
      <a:lt1>
        <a:sysClr val="window" lastClr="FFFFFF"/>
      </a:lt1>
      <a:dk2>
        <a:srgbClr val="BEC3CE"/>
      </a:dk2>
      <a:lt2>
        <a:srgbClr val="50535A"/>
      </a:lt2>
      <a:accent1>
        <a:srgbClr val="231E3C"/>
      </a:accent1>
      <a:accent2>
        <a:srgbClr val="322D5A"/>
      </a:accent2>
      <a:accent3>
        <a:srgbClr val="463C78"/>
      </a:accent3>
      <a:accent4>
        <a:srgbClr val="8278BE"/>
      </a:accent4>
      <a:accent5>
        <a:srgbClr val="AAA5D2"/>
      </a:accent5>
      <a:accent6>
        <a:srgbClr val="D7D2EB"/>
      </a:accent6>
      <a:hlink>
        <a:srgbClr val="000000"/>
      </a:hlink>
      <a:folHlink>
        <a:srgbClr val="000000"/>
      </a:folHlink>
    </a:clrScheme>
    <a:fontScheme name="adidas new">
      <a:majorFont>
        <a:latin typeface="adiText Black Beta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solidFill>
            <a:schemeClr val="accent3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9DFD41DA3911B4C8A39FC66E077B403" ma:contentTypeVersion="2" ma:contentTypeDescription="Create a new document." ma:contentTypeScope="" ma:versionID="bcb55b85e6d5c0c972cab08ed9c7e13e">
  <xsd:schema xmlns:xsd="http://www.w3.org/2001/XMLSchema" xmlns:xs="http://www.w3.org/2001/XMLSchema" xmlns:p="http://schemas.microsoft.com/office/2006/metadata/properties" xmlns:ns2="a12129b2-2fed-4be9-bad1-a2d5df807142" targetNamespace="http://schemas.microsoft.com/office/2006/metadata/properties" ma:root="true" ma:fieldsID="11fbb602fcbf949acc0c2f5f3c5cccd2" ns2:_="">
    <xsd:import namespace="a12129b2-2fed-4be9-bad1-a2d5df80714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12129b2-2fed-4be9-bad1-a2d5df80714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9442803-A7F8-4A8F-8188-80436A895E9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201A6E2-58B2-4BE8-A52A-D064985C7A3B}">
  <ds:schemaRefs>
    <ds:schemaRef ds:uri="a12129b2-2fed-4be9-bad1-a2d5df807142"/>
    <ds:schemaRef ds:uri="http://purl.org/dc/terms/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99F129B-545D-48F2-8C9B-1AC2253CB53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12129b2-2fed-4be9-bad1-a2d5df80714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didas Template 2017 Core Red</Template>
  <TotalTime>0</TotalTime>
  <Words>76</Words>
  <Application>Microsoft Office PowerPoint</Application>
  <PresentationFormat>Custom</PresentationFormat>
  <Paragraphs>4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2" baseType="lpstr">
      <vt:lpstr>AdihausDIN</vt:lpstr>
      <vt:lpstr>AdihausDIN Cn</vt:lpstr>
      <vt:lpstr>adineue PRO</vt:lpstr>
      <vt:lpstr>adineue PRO Black</vt:lpstr>
      <vt:lpstr>adineue PRO Light</vt:lpstr>
      <vt:lpstr>adineue PRO TT Black</vt:lpstr>
      <vt:lpstr>adineue TEXT Black</vt:lpstr>
      <vt:lpstr>adineue TEXT Light</vt:lpstr>
      <vt:lpstr>adiText Light Beta</vt:lpstr>
      <vt:lpstr>Arial</vt:lpstr>
      <vt:lpstr>Symbol</vt:lpstr>
      <vt:lpstr>Wingdings</vt:lpstr>
      <vt:lpstr>GLOBAL TEMPLATE 2017 (BOLD PINK)</vt:lpstr>
      <vt:lpstr>GLOBAL TEMPLATE 2017 (CORE RED)</vt:lpstr>
      <vt:lpstr>GLOBAL TEMPLATE 2017 (SOLAR GOLD)</vt:lpstr>
      <vt:lpstr>GLOBAL TEMPLATE 2017 (CORE GREEN)</vt:lpstr>
      <vt:lpstr>GLOBAL TEMPLATE 2017 (TEAL)</vt:lpstr>
      <vt:lpstr>GLOBAL TEMPLATE 2017 (LIGHT BLUE)</vt:lpstr>
      <vt:lpstr>GLOBAL TEMPLATE 2017 (ENERGY INK)</vt:lpstr>
      <vt:lpstr>18_GLOBAL TEMPLATE 2017 (BOLD PINK)</vt:lpstr>
      <vt:lpstr>think-cell Slide</vt:lpstr>
      <vt:lpstr>DATA TYPES &amp; META DAT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LOBAL TEMPLATE</dc:title>
  <dc:creator>Schneider, Lucas</dc:creator>
  <cp:lastModifiedBy>Schneider, Lucas</cp:lastModifiedBy>
  <cp:revision>11</cp:revision>
  <cp:lastPrinted>2015-05-04T06:43:15Z</cp:lastPrinted>
  <dcterms:created xsi:type="dcterms:W3CDTF">2019-04-27T11:06:12Z</dcterms:created>
  <dcterms:modified xsi:type="dcterms:W3CDTF">2019-04-27T13:53:30Z</dcterms:modified>
  <dc:language>English-UK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9DFD41DA3911B4C8A39FC66E077B403</vt:lpwstr>
  </property>
</Properties>
</file>